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96" r:id="rId4"/>
  </p:sldMasterIdLst>
  <p:notesMasterIdLst>
    <p:notesMasterId r:id="rId17"/>
  </p:notesMasterIdLst>
  <p:handoutMasterIdLst>
    <p:handoutMasterId r:id="rId18"/>
  </p:handoutMasterIdLst>
  <p:sldIdLst>
    <p:sldId id="439" r:id="rId5"/>
    <p:sldId id="2147376293" r:id="rId6"/>
    <p:sldId id="2147376298" r:id="rId7"/>
    <p:sldId id="2147376307" r:id="rId8"/>
    <p:sldId id="2147376300" r:id="rId9"/>
    <p:sldId id="2147376301" r:id="rId10"/>
    <p:sldId id="2147376302" r:id="rId11"/>
    <p:sldId id="2147376303" r:id="rId12"/>
    <p:sldId id="2147376304" r:id="rId13"/>
    <p:sldId id="2147376305" r:id="rId14"/>
    <p:sldId id="2147376306" r:id="rId15"/>
    <p:sldId id="2147376289" r:id="rId16"/>
  </p:sldIdLst>
  <p:sldSz cx="12192000" cy="6858000"/>
  <p:notesSz cx="6980238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9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F2F2F2"/>
    <a:srgbClr val="000000"/>
    <a:srgbClr val="D9D9D9"/>
    <a:srgbClr val="005587"/>
    <a:srgbClr val="FFCD00"/>
    <a:srgbClr val="ED8B00"/>
    <a:srgbClr val="DB291C"/>
    <a:srgbClr val="FF9900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48C94A-76ED-4642-A389-14D41ECEB48A}" v="53" dt="2024-07-23T12:54:52.9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849" autoAdjust="0"/>
  </p:normalViewPr>
  <p:slideViewPr>
    <p:cSldViewPr snapToGrid="0" showGuides="1">
      <p:cViewPr varScale="1">
        <p:scale>
          <a:sx n="61" d="100"/>
          <a:sy n="61" d="100"/>
        </p:scale>
        <p:origin x="844" y="60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-15120"/>
    </p:cViewPr>
  </p:sorterViewPr>
  <p:notesViewPr>
    <p:cSldViewPr snapToGrid="0" showGuides="1">
      <p:cViewPr varScale="1">
        <p:scale>
          <a:sx n="64" d="100"/>
          <a:sy n="64" d="100"/>
        </p:scale>
        <p:origin x="3173" y="82"/>
      </p:cViewPr>
      <p:guideLst>
        <p:guide orient="horz" pos="2880"/>
        <p:guide pos="219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h, Darshan" userId="f1eafdf3-04ad-4481-8ca3-f8e7e1050566" providerId="ADAL" clId="{2848C94A-76ED-4642-A389-14D41ECEB48A}"/>
    <pc:docChg chg="undo redo custSel addSld delSld modSld delMainMaster">
      <pc:chgData name="Shah, Darshan" userId="f1eafdf3-04ad-4481-8ca3-f8e7e1050566" providerId="ADAL" clId="{2848C94A-76ED-4642-A389-14D41ECEB48A}" dt="2024-07-23T12:56:02.368" v="2526" actId="313"/>
      <pc:docMkLst>
        <pc:docMk/>
      </pc:docMkLst>
      <pc:sldChg chg="delSp add del setBg delDesignElem">
        <pc:chgData name="Shah, Darshan" userId="f1eafdf3-04ad-4481-8ca3-f8e7e1050566" providerId="ADAL" clId="{2848C94A-76ED-4642-A389-14D41ECEB48A}" dt="2024-07-20T13:27:52.557" v="1011" actId="47"/>
        <pc:sldMkLst>
          <pc:docMk/>
          <pc:sldMk cId="1652074309" sldId="257"/>
        </pc:sldMkLst>
        <pc:spChg chg="del">
          <ac:chgData name="Shah, Darshan" userId="f1eafdf3-04ad-4481-8ca3-f8e7e1050566" providerId="ADAL" clId="{2848C94A-76ED-4642-A389-14D41ECEB48A}" dt="2024-07-20T13:26:56.060" v="1007"/>
          <ac:spMkLst>
            <pc:docMk/>
            <pc:sldMk cId="1652074309" sldId="257"/>
            <ac:spMk id="9" creationId="{42A4FC2C-047E-45A5-965D-8E1E3BF09BC6}"/>
          </ac:spMkLst>
        </pc:spChg>
      </pc:sldChg>
      <pc:sldChg chg="addSp delSp modSp mod modClrScheme chgLayout">
        <pc:chgData name="Shah, Darshan" userId="f1eafdf3-04ad-4481-8ca3-f8e7e1050566" providerId="ADAL" clId="{2848C94A-76ED-4642-A389-14D41ECEB48A}" dt="2024-07-23T12:54:32.025" v="2518" actId="700"/>
        <pc:sldMkLst>
          <pc:docMk/>
          <pc:sldMk cId="1287521536" sldId="439"/>
        </pc:sldMkLst>
        <pc:spChg chg="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2" creationId="{1A53A8AD-38C0-4854-81B3-9B99B4E007ED}"/>
          </ac:spMkLst>
        </pc:spChg>
        <pc:spChg chg="add del 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4" creationId="{51A1F5C2-87D2-8D49-6A0E-8676DA61B120}"/>
          </ac:spMkLst>
        </pc:spChg>
        <pc:spChg chg="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5" creationId="{00000000-0000-0000-0000-000000000000}"/>
          </ac:spMkLst>
        </pc:spChg>
        <pc:spChg chg="add mod">
          <ac:chgData name="Shah, Darshan" userId="f1eafdf3-04ad-4481-8ca3-f8e7e1050566" providerId="ADAL" clId="{2848C94A-76ED-4642-A389-14D41ECEB48A}" dt="2024-07-23T07:56:44.236" v="1857" actId="20577"/>
          <ac:spMkLst>
            <pc:docMk/>
            <pc:sldMk cId="1287521536" sldId="439"/>
            <ac:spMk id="6" creationId="{FC442474-BB6A-F038-CA81-5DB3457CEFD1}"/>
          </ac:spMkLst>
        </pc:spChg>
        <pc:spChg chg="add mod">
          <ac:chgData name="Shah, Darshan" userId="f1eafdf3-04ad-4481-8ca3-f8e7e1050566" providerId="ADAL" clId="{2848C94A-76ED-4642-A389-14D41ECEB48A}" dt="2024-07-23T08:04:27.693" v="2322" actId="14100"/>
          <ac:spMkLst>
            <pc:docMk/>
            <pc:sldMk cId="1287521536" sldId="439"/>
            <ac:spMk id="7" creationId="{4FBF0757-D30E-9FDE-182F-C9710E4C8697}"/>
          </ac:spMkLst>
        </pc:spChg>
        <pc:spChg chg="add del 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8" creationId="{A0BE91C9-F412-C6EC-C818-D8259407BD24}"/>
          </ac:spMkLst>
        </pc:spChg>
        <pc:spChg chg="add mod">
          <ac:chgData name="Shah, Darshan" userId="f1eafdf3-04ad-4481-8ca3-f8e7e1050566" providerId="ADAL" clId="{2848C94A-76ED-4642-A389-14D41ECEB48A}" dt="2024-07-23T07:58:38.025" v="1864" actId="1076"/>
          <ac:spMkLst>
            <pc:docMk/>
            <pc:sldMk cId="1287521536" sldId="439"/>
            <ac:spMk id="9" creationId="{1A644DAE-9252-F622-298C-57BD5FE4C9C1}"/>
          </ac:spMkLst>
        </pc:spChg>
        <pc:spChg chg="add del 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10" creationId="{02C702B1-644A-198B-56C5-AE1B120406EB}"/>
          </ac:spMkLst>
        </pc:spChg>
        <pc:spChg chg="add del 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11" creationId="{9CDC220E-35C5-5D95-9855-DC359F611BDF}"/>
          </ac:spMkLst>
        </pc:spChg>
        <pc:spChg chg="add del 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12" creationId="{DDEAC6CA-E827-68FC-481D-C2305BE06D2F}"/>
          </ac:spMkLst>
        </pc:spChg>
        <pc:spChg chg="add del 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13" creationId="{A90FA6DD-B710-3B8F-8375-05F7B32404CE}"/>
          </ac:spMkLst>
        </pc:spChg>
        <pc:spChg chg="add del 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14" creationId="{58CA2D2F-3939-DACE-2D6B-7D4BC06402E7}"/>
          </ac:spMkLst>
        </pc:spChg>
        <pc:spChg chg="add del mod ord">
          <ac:chgData name="Shah, Darshan" userId="f1eafdf3-04ad-4481-8ca3-f8e7e1050566" providerId="ADAL" clId="{2848C94A-76ED-4642-A389-14D41ECEB48A}" dt="2024-07-23T12:54:32.025" v="2518" actId="700"/>
          <ac:spMkLst>
            <pc:docMk/>
            <pc:sldMk cId="1287521536" sldId="439"/>
            <ac:spMk id="15" creationId="{B387294A-FC0B-61D2-11EB-EADE9A9C76B1}"/>
          </ac:spMkLst>
        </pc:spChg>
        <pc:picChg chg="add mod">
          <ac:chgData name="Shah, Darshan" userId="f1eafdf3-04ad-4481-8ca3-f8e7e1050566" providerId="ADAL" clId="{2848C94A-76ED-4642-A389-14D41ECEB48A}" dt="2024-07-23T07:55:57.184" v="1830" actId="1076"/>
          <ac:picMkLst>
            <pc:docMk/>
            <pc:sldMk cId="1287521536" sldId="439"/>
            <ac:picMk id="3" creationId="{DBA08FE6-7880-23CC-98AF-57025E24C6A2}"/>
          </ac:picMkLst>
        </pc:picChg>
        <pc:picChg chg="add del mod">
          <ac:chgData name="Shah, Darshan" userId="f1eafdf3-04ad-4481-8ca3-f8e7e1050566" providerId="ADAL" clId="{2848C94A-76ED-4642-A389-14D41ECEB48A}" dt="2024-07-23T07:56:08.681" v="1832"/>
          <ac:picMkLst>
            <pc:docMk/>
            <pc:sldMk cId="1287521536" sldId="439"/>
            <ac:picMk id="4" creationId="{FEF70783-354B-DEE5-D64F-446CA3796CF1}"/>
          </ac:picMkLst>
        </pc:picChg>
        <pc:picChg chg="add del mod">
          <ac:chgData name="Shah, Darshan" userId="f1eafdf3-04ad-4481-8ca3-f8e7e1050566" providerId="ADAL" clId="{2848C94A-76ED-4642-A389-14D41ECEB48A}" dt="2024-07-23T07:53:58.945" v="1822" actId="478"/>
          <ac:picMkLst>
            <pc:docMk/>
            <pc:sldMk cId="1287521536" sldId="439"/>
            <ac:picMk id="8" creationId="{60C0724D-824A-352E-F346-75CCABDA0E29}"/>
          </ac:picMkLst>
        </pc:picChg>
      </pc:sldChg>
      <pc:sldChg chg="del">
        <pc:chgData name="Shah, Darshan" userId="f1eafdf3-04ad-4481-8ca3-f8e7e1050566" providerId="ADAL" clId="{2848C94A-76ED-4642-A389-14D41ECEB48A}" dt="2024-07-23T08:04:08.940" v="2320" actId="47"/>
        <pc:sldMkLst>
          <pc:docMk/>
          <pc:sldMk cId="2421727679" sldId="2147376272"/>
        </pc:sldMkLst>
      </pc:sldChg>
      <pc:sldChg chg="del">
        <pc:chgData name="Shah, Darshan" userId="f1eafdf3-04ad-4481-8ca3-f8e7e1050566" providerId="ADAL" clId="{2848C94A-76ED-4642-A389-14D41ECEB48A}" dt="2024-07-20T12:09:58.451" v="903" actId="47"/>
        <pc:sldMkLst>
          <pc:docMk/>
          <pc:sldMk cId="1337659762" sldId="2147376277"/>
        </pc:sldMkLst>
      </pc:sldChg>
      <pc:sldChg chg="del">
        <pc:chgData name="Shah, Darshan" userId="f1eafdf3-04ad-4481-8ca3-f8e7e1050566" providerId="ADAL" clId="{2848C94A-76ED-4642-A389-14D41ECEB48A}" dt="2024-07-23T08:04:13.301" v="2321" actId="47"/>
        <pc:sldMkLst>
          <pc:docMk/>
          <pc:sldMk cId="684793229" sldId="2147376281"/>
        </pc:sldMkLst>
      </pc:sldChg>
      <pc:sldChg chg="del">
        <pc:chgData name="Shah, Darshan" userId="f1eafdf3-04ad-4481-8ca3-f8e7e1050566" providerId="ADAL" clId="{2848C94A-76ED-4642-A389-14D41ECEB48A}" dt="2024-07-23T08:04:13.301" v="2321" actId="47"/>
        <pc:sldMkLst>
          <pc:docMk/>
          <pc:sldMk cId="120239336" sldId="2147376286"/>
        </pc:sldMkLst>
      </pc:sldChg>
      <pc:sldChg chg="del">
        <pc:chgData name="Shah, Darshan" userId="f1eafdf3-04ad-4481-8ca3-f8e7e1050566" providerId="ADAL" clId="{2848C94A-76ED-4642-A389-14D41ECEB48A}" dt="2024-07-23T08:04:13.301" v="2321" actId="47"/>
        <pc:sldMkLst>
          <pc:docMk/>
          <pc:sldMk cId="1578450996" sldId="2147376292"/>
        </pc:sldMkLst>
      </pc:sldChg>
      <pc:sldChg chg="addSp delSp modSp mod modClrScheme modShow chgLayout">
        <pc:chgData name="Shah, Darshan" userId="f1eafdf3-04ad-4481-8ca3-f8e7e1050566" providerId="ADAL" clId="{2848C94A-76ED-4642-A389-14D41ECEB48A}" dt="2024-07-23T12:48:45.088" v="2385" actId="729"/>
        <pc:sldMkLst>
          <pc:docMk/>
          <pc:sldMk cId="1175959110" sldId="2147376293"/>
        </pc:sldMkLst>
        <pc:spChg chg="add mod ord">
          <ac:chgData name="Shah, Darshan" userId="f1eafdf3-04ad-4481-8ca3-f8e7e1050566" providerId="ADAL" clId="{2848C94A-76ED-4642-A389-14D41ECEB48A}" dt="2024-07-23T07:59:42.072" v="1932" actId="20577"/>
          <ac:spMkLst>
            <pc:docMk/>
            <pc:sldMk cId="1175959110" sldId="2147376293"/>
            <ac:spMk id="7" creationId="{AF610D59-100A-717F-4174-BE6F841D6F09}"/>
          </ac:spMkLst>
        </pc:spChg>
        <pc:spChg chg="add del mod ord">
          <ac:chgData name="Shah, Darshan" userId="f1eafdf3-04ad-4481-8ca3-f8e7e1050566" providerId="ADAL" clId="{2848C94A-76ED-4642-A389-14D41ECEB48A}" dt="2024-07-20T09:41:07.427" v="173" actId="700"/>
          <ac:spMkLst>
            <pc:docMk/>
            <pc:sldMk cId="1175959110" sldId="2147376293"/>
            <ac:spMk id="8" creationId="{2660CAEB-F87D-55DE-B46A-7EC00A989E51}"/>
          </ac:spMkLst>
        </pc:spChg>
        <pc:spChg chg="add del mod ord">
          <ac:chgData name="Shah, Darshan" userId="f1eafdf3-04ad-4481-8ca3-f8e7e1050566" providerId="ADAL" clId="{2848C94A-76ED-4642-A389-14D41ECEB48A}" dt="2024-07-20T09:41:07.427" v="173" actId="700"/>
          <ac:spMkLst>
            <pc:docMk/>
            <pc:sldMk cId="1175959110" sldId="2147376293"/>
            <ac:spMk id="9" creationId="{78083360-0A61-3399-AFDE-7A200A02D2BD}"/>
          </ac:spMkLst>
        </pc:spChg>
        <pc:spChg chg="add del mod ord">
          <ac:chgData name="Shah, Darshan" userId="f1eafdf3-04ad-4481-8ca3-f8e7e1050566" providerId="ADAL" clId="{2848C94A-76ED-4642-A389-14D41ECEB48A}" dt="2024-07-20T09:41:07.427" v="173" actId="700"/>
          <ac:spMkLst>
            <pc:docMk/>
            <pc:sldMk cId="1175959110" sldId="2147376293"/>
            <ac:spMk id="10" creationId="{FA3F611F-5C62-666E-C4DD-EB89D031E53A}"/>
          </ac:spMkLst>
        </pc:spChg>
        <pc:spChg chg="mod ord">
          <ac:chgData name="Shah, Darshan" userId="f1eafdf3-04ad-4481-8ca3-f8e7e1050566" providerId="ADAL" clId="{2848C94A-76ED-4642-A389-14D41ECEB48A}" dt="2024-07-23T07:59:35.009" v="1919" actId="6549"/>
          <ac:spMkLst>
            <pc:docMk/>
            <pc:sldMk cId="1175959110" sldId="2147376293"/>
            <ac:spMk id="11" creationId="{946E8802-0EA8-BE99-5D9F-FB7365501508}"/>
          </ac:spMkLst>
        </pc:spChg>
        <pc:spChg chg="add del mod">
          <ac:chgData name="Shah, Darshan" userId="f1eafdf3-04ad-4481-8ca3-f8e7e1050566" providerId="ADAL" clId="{2848C94A-76ED-4642-A389-14D41ECEB48A}" dt="2024-07-20T09:38:25.049" v="78" actId="26606"/>
          <ac:spMkLst>
            <pc:docMk/>
            <pc:sldMk cId="1175959110" sldId="2147376293"/>
            <ac:spMk id="16" creationId="{74AE705C-FF64-0948-C7A4-C4323961B0BA}"/>
          </ac:spMkLst>
        </pc:spChg>
        <pc:spChg chg="add del mod ord">
          <ac:chgData name="Shah, Darshan" userId="f1eafdf3-04ad-4481-8ca3-f8e7e1050566" providerId="ADAL" clId="{2848C94A-76ED-4642-A389-14D41ECEB48A}" dt="2024-07-20T10:07:29.485" v="283" actId="404"/>
          <ac:spMkLst>
            <pc:docMk/>
            <pc:sldMk cId="1175959110" sldId="2147376293"/>
            <ac:spMk id="18" creationId="{A7897D3E-4AB7-2F35-5985-50E12077E851}"/>
          </ac:spMkLst>
        </pc:spChg>
        <pc:spChg chg="add del mod">
          <ac:chgData name="Shah, Darshan" userId="f1eafdf3-04ad-4481-8ca3-f8e7e1050566" providerId="ADAL" clId="{2848C94A-76ED-4642-A389-14D41ECEB48A}" dt="2024-07-20T09:39:41.541" v="147" actId="26606"/>
          <ac:spMkLst>
            <pc:docMk/>
            <pc:sldMk cId="1175959110" sldId="2147376293"/>
            <ac:spMk id="20" creationId="{D226518A-9880-4F40-7D3A-B3FAC1457846}"/>
          </ac:spMkLst>
        </pc:spChg>
        <pc:spChg chg="add del mod">
          <ac:chgData name="Shah, Darshan" userId="f1eafdf3-04ad-4481-8ca3-f8e7e1050566" providerId="ADAL" clId="{2848C94A-76ED-4642-A389-14D41ECEB48A}" dt="2024-07-20T09:39:29.799" v="145" actId="26606"/>
          <ac:spMkLst>
            <pc:docMk/>
            <pc:sldMk cId="1175959110" sldId="2147376293"/>
            <ac:spMk id="23" creationId="{9D3C60D3-E646-0B30-55B7-130514F0E5DC}"/>
          </ac:spMkLst>
        </pc:spChg>
        <pc:picChg chg="mod">
          <ac:chgData name="Shah, Darshan" userId="f1eafdf3-04ad-4481-8ca3-f8e7e1050566" providerId="ADAL" clId="{2848C94A-76ED-4642-A389-14D41ECEB48A}" dt="2024-07-20T09:40:20.633" v="171" actId="14100"/>
          <ac:picMkLst>
            <pc:docMk/>
            <pc:sldMk cId="1175959110" sldId="2147376293"/>
            <ac:picMk id="6" creationId="{CF6C8D7E-35EE-61EC-72A0-5B29226002CF}"/>
          </ac:picMkLst>
        </pc:picChg>
        <pc:picChg chg="add mod">
          <ac:chgData name="Shah, Darshan" userId="f1eafdf3-04ad-4481-8ca3-f8e7e1050566" providerId="ADAL" clId="{2848C94A-76ED-4642-A389-14D41ECEB48A}" dt="2024-07-20T10:31:08.646" v="582" actId="14100"/>
          <ac:picMkLst>
            <pc:docMk/>
            <pc:sldMk cId="1175959110" sldId="2147376293"/>
            <ac:picMk id="13" creationId="{2721FFD1-1366-0321-F19D-4E2C183DC41F}"/>
          </ac:picMkLst>
        </pc:picChg>
        <pc:picChg chg="add mod">
          <ac:chgData name="Shah, Darshan" userId="f1eafdf3-04ad-4481-8ca3-f8e7e1050566" providerId="ADAL" clId="{2848C94A-76ED-4642-A389-14D41ECEB48A}" dt="2024-07-20T10:30:40.554" v="561" actId="1036"/>
          <ac:picMkLst>
            <pc:docMk/>
            <pc:sldMk cId="1175959110" sldId="2147376293"/>
            <ac:picMk id="15" creationId="{BE5F2016-E6FA-6676-239D-10DE136CF7FE}"/>
          </ac:picMkLst>
        </pc:picChg>
        <pc:picChg chg="add mod">
          <ac:chgData name="Shah, Darshan" userId="f1eafdf3-04ad-4481-8ca3-f8e7e1050566" providerId="ADAL" clId="{2848C94A-76ED-4642-A389-14D41ECEB48A}" dt="2024-07-20T10:35:00.661" v="699" actId="14100"/>
          <ac:picMkLst>
            <pc:docMk/>
            <pc:sldMk cId="1175959110" sldId="2147376293"/>
            <ac:picMk id="19" creationId="{C259A118-6294-1FA2-6BEB-3F5F9EACE712}"/>
          </ac:picMkLst>
        </pc:picChg>
      </pc:sldChg>
      <pc:sldChg chg="del">
        <pc:chgData name="Shah, Darshan" userId="f1eafdf3-04ad-4481-8ca3-f8e7e1050566" providerId="ADAL" clId="{2848C94A-76ED-4642-A389-14D41ECEB48A}" dt="2024-07-23T07:50:14.478" v="1733" actId="47"/>
        <pc:sldMkLst>
          <pc:docMk/>
          <pc:sldMk cId="177719565" sldId="2147376294"/>
        </pc:sldMkLst>
      </pc:sldChg>
      <pc:sldChg chg="addSp delSp modSp new del mod modClrScheme chgLayout">
        <pc:chgData name="Shah, Darshan" userId="f1eafdf3-04ad-4481-8ca3-f8e7e1050566" providerId="ADAL" clId="{2848C94A-76ED-4642-A389-14D41ECEB48A}" dt="2024-07-23T07:47:39.824" v="1687" actId="47"/>
        <pc:sldMkLst>
          <pc:docMk/>
          <pc:sldMk cId="4048622278" sldId="2147376295"/>
        </pc:sldMkLst>
        <pc:spChg chg="del 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2" creationId="{6BADD2B5-66D8-8CFF-91AD-EB96DF3E72CB}"/>
          </ac:spMkLst>
        </pc:spChg>
        <pc:spChg chg="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3" creationId="{BFB192AD-FB0C-3428-B5F2-BAB6E3B85D2D}"/>
          </ac:spMkLst>
        </pc:spChg>
        <pc:spChg chg="del 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4" creationId="{79A7C917-2457-5406-9FF7-4954273AB7AE}"/>
          </ac:spMkLst>
        </pc:spChg>
        <pc:spChg chg="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5" creationId="{7A53FDED-9F31-7C74-5829-1D9E0F0684DC}"/>
          </ac:spMkLst>
        </pc:spChg>
        <pc:spChg chg="del 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6" creationId="{2BE2D212-4A8F-0229-6ACE-BDBC98A1E864}"/>
          </ac:spMkLst>
        </pc:spChg>
        <pc:spChg chg="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7" creationId="{7881A919-2892-1260-9786-6A2CDAE791CE}"/>
          </ac:spMkLst>
        </pc:spChg>
        <pc:spChg chg="del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8" creationId="{AA0C2A4A-3929-FC24-C45B-82BB5E7B39D3}"/>
          </ac:spMkLst>
        </pc:spChg>
        <pc:spChg chg="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9" creationId="{E3A4F8A7-DA9D-A726-B736-AC612A427183}"/>
          </ac:spMkLst>
        </pc:spChg>
        <pc:spChg chg="del 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10" creationId="{D83D4BBF-187A-078C-7340-E6AE5C956645}"/>
          </ac:spMkLst>
        </pc:spChg>
        <pc:spChg chg="add 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13" creationId="{02271BEB-2D1D-CC88-0D79-4AE4E0F4F5E4}"/>
          </ac:spMkLst>
        </pc:spChg>
        <pc:spChg chg="add 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14" creationId="{6AD4DBAF-0A29-91AC-54E7-8AD38931FF57}"/>
          </ac:spMkLst>
        </pc:spChg>
        <pc:spChg chg="add mod ord">
          <ac:chgData name="Shah, Darshan" userId="f1eafdf3-04ad-4481-8ca3-f8e7e1050566" providerId="ADAL" clId="{2848C94A-76ED-4642-A389-14D41ECEB48A}" dt="2024-07-20T10:20:50.059" v="395" actId="700"/>
          <ac:spMkLst>
            <pc:docMk/>
            <pc:sldMk cId="4048622278" sldId="2147376295"/>
            <ac:spMk id="15" creationId="{19A849B1-3776-33EE-BDAB-0420A5FC36C0}"/>
          </ac:spMkLst>
        </pc:spChg>
        <pc:spChg chg="add mod ord">
          <ac:chgData name="Shah, Darshan" userId="f1eafdf3-04ad-4481-8ca3-f8e7e1050566" providerId="ADAL" clId="{2848C94A-76ED-4642-A389-14D41ECEB48A}" dt="2024-07-22T05:28:56.281" v="1013" actId="1076"/>
          <ac:spMkLst>
            <pc:docMk/>
            <pc:sldMk cId="4048622278" sldId="2147376295"/>
            <ac:spMk id="16" creationId="{A33B1006-D920-E3C3-C31D-C09F76A0A061}"/>
          </ac:spMkLst>
        </pc:spChg>
      </pc:sldChg>
      <pc:sldChg chg="addSp delSp modSp new del mod modClrScheme chgLayout">
        <pc:chgData name="Shah, Darshan" userId="f1eafdf3-04ad-4481-8ca3-f8e7e1050566" providerId="ADAL" clId="{2848C94A-76ED-4642-A389-14D41ECEB48A}" dt="2024-07-23T07:55:17.236" v="1825" actId="47"/>
        <pc:sldMkLst>
          <pc:docMk/>
          <pc:sldMk cId="2877642225" sldId="2147376296"/>
        </pc:sldMkLst>
        <pc:spChg chg="del mod ord">
          <ac:chgData name="Shah, Darshan" userId="f1eafdf3-04ad-4481-8ca3-f8e7e1050566" providerId="ADAL" clId="{2848C94A-76ED-4642-A389-14D41ECEB48A}" dt="2024-07-20T09:46:25.549" v="230" actId="700"/>
          <ac:spMkLst>
            <pc:docMk/>
            <pc:sldMk cId="2877642225" sldId="2147376296"/>
            <ac:spMk id="2" creationId="{3A4C32D2-5298-52FF-A845-E9D22CF08C5D}"/>
          </ac:spMkLst>
        </pc:spChg>
        <pc:spChg chg="add del mod">
          <ac:chgData name="Shah, Darshan" userId="f1eafdf3-04ad-4481-8ca3-f8e7e1050566" providerId="ADAL" clId="{2848C94A-76ED-4642-A389-14D41ECEB48A}" dt="2024-07-22T05:30:33.845" v="1026" actId="478"/>
          <ac:spMkLst>
            <pc:docMk/>
            <pc:sldMk cId="2877642225" sldId="2147376296"/>
            <ac:spMk id="2" creationId="{A9BBDA74-811A-1F10-52F2-83DEBB509926}"/>
          </ac:spMkLst>
        </pc:spChg>
        <pc:spChg chg="del mod ord">
          <ac:chgData name="Shah, Darshan" userId="f1eafdf3-04ad-4481-8ca3-f8e7e1050566" providerId="ADAL" clId="{2848C94A-76ED-4642-A389-14D41ECEB48A}" dt="2024-07-20T09:46:25.549" v="230" actId="700"/>
          <ac:spMkLst>
            <pc:docMk/>
            <pc:sldMk cId="2877642225" sldId="2147376296"/>
            <ac:spMk id="3" creationId="{BABC6730-2A45-D029-9A60-BA52A57314DA}"/>
          </ac:spMkLst>
        </pc:spChg>
        <pc:spChg chg="del mod ord">
          <ac:chgData name="Shah, Darshan" userId="f1eafdf3-04ad-4481-8ca3-f8e7e1050566" providerId="ADAL" clId="{2848C94A-76ED-4642-A389-14D41ECEB48A}" dt="2024-07-20T09:46:25.549" v="230" actId="700"/>
          <ac:spMkLst>
            <pc:docMk/>
            <pc:sldMk cId="2877642225" sldId="2147376296"/>
            <ac:spMk id="4" creationId="{6E66B867-B6DB-E75C-59E4-AB1DC33CB180}"/>
          </ac:spMkLst>
        </pc:spChg>
        <pc:spChg chg="del mod ord">
          <ac:chgData name="Shah, Darshan" userId="f1eafdf3-04ad-4481-8ca3-f8e7e1050566" providerId="ADAL" clId="{2848C94A-76ED-4642-A389-14D41ECEB48A}" dt="2024-07-20T09:46:25.549" v="230" actId="700"/>
          <ac:spMkLst>
            <pc:docMk/>
            <pc:sldMk cId="2877642225" sldId="2147376296"/>
            <ac:spMk id="5" creationId="{7378B46C-499C-8001-F245-8E011EAFA7C7}"/>
          </ac:spMkLst>
        </pc:spChg>
        <pc:spChg chg="add mod ord">
          <ac:chgData name="Shah, Darshan" userId="f1eafdf3-04ad-4481-8ca3-f8e7e1050566" providerId="ADAL" clId="{2848C94A-76ED-4642-A389-14D41ECEB48A}" dt="2024-07-20T09:46:25.549" v="230" actId="700"/>
          <ac:spMkLst>
            <pc:docMk/>
            <pc:sldMk cId="2877642225" sldId="2147376296"/>
            <ac:spMk id="6" creationId="{04A08EE8-F715-0089-F4A6-149DB28A5065}"/>
          </ac:spMkLst>
        </pc:spChg>
        <pc:spChg chg="add mod ord">
          <ac:chgData name="Shah, Darshan" userId="f1eafdf3-04ad-4481-8ca3-f8e7e1050566" providerId="ADAL" clId="{2848C94A-76ED-4642-A389-14D41ECEB48A}" dt="2024-07-20T09:46:25.549" v="230" actId="700"/>
          <ac:spMkLst>
            <pc:docMk/>
            <pc:sldMk cId="2877642225" sldId="2147376296"/>
            <ac:spMk id="7" creationId="{59E34B93-C9B1-98DD-6AB9-02E6D3887ECC}"/>
          </ac:spMkLst>
        </pc:spChg>
        <pc:spChg chg="add mod ord">
          <ac:chgData name="Shah, Darshan" userId="f1eafdf3-04ad-4481-8ca3-f8e7e1050566" providerId="ADAL" clId="{2848C94A-76ED-4642-A389-14D41ECEB48A}" dt="2024-07-20T09:47:39.490" v="263" actId="20577"/>
          <ac:spMkLst>
            <pc:docMk/>
            <pc:sldMk cId="2877642225" sldId="2147376296"/>
            <ac:spMk id="8" creationId="{6596BC64-7F09-A6F4-AF43-8AD9AD6F17EF}"/>
          </ac:spMkLst>
        </pc:spChg>
        <pc:spChg chg="add mod ord">
          <ac:chgData name="Shah, Darshan" userId="f1eafdf3-04ad-4481-8ca3-f8e7e1050566" providerId="ADAL" clId="{2848C94A-76ED-4642-A389-14D41ECEB48A}" dt="2024-07-20T09:47:15.773" v="252" actId="255"/>
          <ac:spMkLst>
            <pc:docMk/>
            <pc:sldMk cId="2877642225" sldId="2147376296"/>
            <ac:spMk id="9" creationId="{77B03671-D201-98B7-5F5F-42C9F3215D1C}"/>
          </ac:spMkLst>
        </pc:spChg>
        <pc:spChg chg="add mod ord">
          <ac:chgData name="Shah, Darshan" userId="f1eafdf3-04ad-4481-8ca3-f8e7e1050566" providerId="ADAL" clId="{2848C94A-76ED-4642-A389-14D41ECEB48A}" dt="2024-07-20T09:47:31.581" v="262" actId="122"/>
          <ac:spMkLst>
            <pc:docMk/>
            <pc:sldMk cId="2877642225" sldId="2147376296"/>
            <ac:spMk id="10" creationId="{296AF978-4148-CA17-5F56-604681A1FF1A}"/>
          </ac:spMkLst>
        </pc:spChg>
      </pc:sldChg>
      <pc:sldChg chg="addSp delSp modSp new del mod modClrScheme chgLayout">
        <pc:chgData name="Shah, Darshan" userId="f1eafdf3-04ad-4481-8ca3-f8e7e1050566" providerId="ADAL" clId="{2848C94A-76ED-4642-A389-14D41ECEB48A}" dt="2024-07-23T07:53:54.768" v="1821" actId="47"/>
        <pc:sldMkLst>
          <pc:docMk/>
          <pc:sldMk cId="2956257700" sldId="2147376297"/>
        </pc:sldMkLst>
        <pc:spChg chg="del">
          <ac:chgData name="Shah, Darshan" userId="f1eafdf3-04ad-4481-8ca3-f8e7e1050566" providerId="ADAL" clId="{2848C94A-76ED-4642-A389-14D41ECEB48A}" dt="2024-07-20T10:06:28.454" v="266" actId="26606"/>
          <ac:spMkLst>
            <pc:docMk/>
            <pc:sldMk cId="2956257700" sldId="2147376297"/>
            <ac:spMk id="2" creationId="{3ED04655-0034-AC5C-5826-7152B875ADA5}"/>
          </ac:spMkLst>
        </pc:spChg>
        <pc:spChg chg="del">
          <ac:chgData name="Shah, Darshan" userId="f1eafdf3-04ad-4481-8ca3-f8e7e1050566" providerId="ADAL" clId="{2848C94A-76ED-4642-A389-14D41ECEB48A}" dt="2024-07-20T10:06:28.454" v="266" actId="26606"/>
          <ac:spMkLst>
            <pc:docMk/>
            <pc:sldMk cId="2956257700" sldId="2147376297"/>
            <ac:spMk id="3" creationId="{E0C303AD-0BF9-0712-54A0-C2A8F6E89898}"/>
          </ac:spMkLst>
        </pc:spChg>
        <pc:spChg chg="del">
          <ac:chgData name="Shah, Darshan" userId="f1eafdf3-04ad-4481-8ca3-f8e7e1050566" providerId="ADAL" clId="{2848C94A-76ED-4642-A389-14D41ECEB48A}" dt="2024-07-20T10:06:28.454" v="266" actId="26606"/>
          <ac:spMkLst>
            <pc:docMk/>
            <pc:sldMk cId="2956257700" sldId="2147376297"/>
            <ac:spMk id="4" creationId="{5B2261E0-5DE3-F370-2605-2C561DE5B0B2}"/>
          </ac:spMkLst>
        </pc:spChg>
        <pc:spChg chg="del">
          <ac:chgData name="Shah, Darshan" userId="f1eafdf3-04ad-4481-8ca3-f8e7e1050566" providerId="ADAL" clId="{2848C94A-76ED-4642-A389-14D41ECEB48A}" dt="2024-07-20T10:06:28.454" v="266" actId="26606"/>
          <ac:spMkLst>
            <pc:docMk/>
            <pc:sldMk cId="2956257700" sldId="2147376297"/>
            <ac:spMk id="5" creationId="{F950CF80-791D-2FCE-F907-112F5743448A}"/>
          </ac:spMkLst>
        </pc:spChg>
        <pc:spChg chg="del">
          <ac:chgData name="Shah, Darshan" userId="f1eafdf3-04ad-4481-8ca3-f8e7e1050566" providerId="ADAL" clId="{2848C94A-76ED-4642-A389-14D41ECEB48A}" dt="2024-07-20T10:06:28.454" v="266" actId="26606"/>
          <ac:spMkLst>
            <pc:docMk/>
            <pc:sldMk cId="2956257700" sldId="2147376297"/>
            <ac:spMk id="6" creationId="{5E92BBBC-ACF9-09D3-438D-A4128302449E}"/>
          </ac:spMkLst>
        </pc:spChg>
        <pc:spChg chg="add del mod">
          <ac:chgData name="Shah, Darshan" userId="f1eafdf3-04ad-4481-8ca3-f8e7e1050566" providerId="ADAL" clId="{2848C94A-76ED-4642-A389-14D41ECEB48A}" dt="2024-07-20T12:07:41.145" v="886" actId="478"/>
          <ac:spMkLst>
            <pc:docMk/>
            <pc:sldMk cId="2956257700" sldId="2147376297"/>
            <ac:spMk id="9" creationId="{198370EF-E03C-D6FD-8928-1F6AD08D456F}"/>
          </ac:spMkLst>
        </pc:spChg>
        <pc:spChg chg="add del mod">
          <ac:chgData name="Shah, Darshan" userId="f1eafdf3-04ad-4481-8ca3-f8e7e1050566" providerId="ADAL" clId="{2848C94A-76ED-4642-A389-14D41ECEB48A}" dt="2024-07-23T03:35:46.575" v="1111" actId="26606"/>
          <ac:spMkLst>
            <pc:docMk/>
            <pc:sldMk cId="2956257700" sldId="2147376297"/>
            <ac:spMk id="12" creationId="{BE88D62E-5DC7-3380-4C2D-BA0D5F9F50C1}"/>
          </ac:spMkLst>
        </pc:spChg>
        <pc:spChg chg="add mod">
          <ac:chgData name="Shah, Darshan" userId="f1eafdf3-04ad-4481-8ca3-f8e7e1050566" providerId="ADAL" clId="{2848C94A-76ED-4642-A389-14D41ECEB48A}" dt="2024-07-23T03:35:49.373" v="1112" actId="1076"/>
          <ac:spMkLst>
            <pc:docMk/>
            <pc:sldMk cId="2956257700" sldId="2147376297"/>
            <ac:spMk id="17" creationId="{AA5CE1F0-8617-8748-37D5-1761DD790723}"/>
          </ac:spMkLst>
        </pc:spChg>
        <pc:spChg chg="add del mod">
          <ac:chgData name="Shah, Darshan" userId="f1eafdf3-04ad-4481-8ca3-f8e7e1050566" providerId="ADAL" clId="{2848C94A-76ED-4642-A389-14D41ECEB48A}" dt="2024-07-20T12:07:37.041" v="885" actId="478"/>
          <ac:spMkLst>
            <pc:docMk/>
            <pc:sldMk cId="2956257700" sldId="2147376297"/>
            <ac:spMk id="19" creationId="{35461A24-EDD6-7FB8-0B6E-5A9A6C9E2AE0}"/>
          </ac:spMkLst>
        </pc:spChg>
        <pc:spChg chg="add del mod">
          <ac:chgData name="Shah, Darshan" userId="f1eafdf3-04ad-4481-8ca3-f8e7e1050566" providerId="ADAL" clId="{2848C94A-76ED-4642-A389-14D41ECEB48A}" dt="2024-07-23T03:35:46.575" v="1111" actId="26606"/>
          <ac:spMkLst>
            <pc:docMk/>
            <pc:sldMk cId="2956257700" sldId="2147376297"/>
            <ac:spMk id="21" creationId="{D6E16D11-E401-CA94-A90C-AD0B8AECDD59}"/>
          </ac:spMkLst>
        </pc:spChg>
        <pc:spChg chg="add del mod">
          <ac:chgData name="Shah, Darshan" userId="f1eafdf3-04ad-4481-8ca3-f8e7e1050566" providerId="ADAL" clId="{2848C94A-76ED-4642-A389-14D41ECEB48A}" dt="2024-07-23T03:35:46.409" v="1110" actId="26606"/>
          <ac:spMkLst>
            <pc:docMk/>
            <pc:sldMk cId="2956257700" sldId="2147376297"/>
            <ac:spMk id="26" creationId="{3244F51F-7714-B352-D4F2-AA48F5FE509E}"/>
          </ac:spMkLst>
        </pc:spChg>
        <pc:spChg chg="add del mod">
          <ac:chgData name="Shah, Darshan" userId="f1eafdf3-04ad-4481-8ca3-f8e7e1050566" providerId="ADAL" clId="{2848C94A-76ED-4642-A389-14D41ECEB48A}" dt="2024-07-23T03:35:46.409" v="1110" actId="26606"/>
          <ac:spMkLst>
            <pc:docMk/>
            <pc:sldMk cId="2956257700" sldId="2147376297"/>
            <ac:spMk id="28" creationId="{FBE882E5-D4A7-F027-9E19-70F768E7888E}"/>
          </ac:spMkLst>
        </pc:spChg>
        <pc:graphicFrameChg chg="add mod modGraphic">
          <ac:chgData name="Shah, Darshan" userId="f1eafdf3-04ad-4481-8ca3-f8e7e1050566" providerId="ADAL" clId="{2848C94A-76ED-4642-A389-14D41ECEB48A}" dt="2024-07-23T03:36:01.055" v="1126" actId="6549"/>
          <ac:graphicFrameMkLst>
            <pc:docMk/>
            <pc:sldMk cId="2956257700" sldId="2147376297"/>
            <ac:graphicFrameMk id="7" creationId="{9FC68898-FF04-9700-5478-9CD89E0E5CB9}"/>
          </ac:graphicFrameMkLst>
        </pc:graphicFrameChg>
      </pc:sldChg>
      <pc:sldChg chg="addSp delSp modSp new mod modShow">
        <pc:chgData name="Shah, Darshan" userId="f1eafdf3-04ad-4481-8ca3-f8e7e1050566" providerId="ADAL" clId="{2848C94A-76ED-4642-A389-14D41ECEB48A}" dt="2024-07-23T12:12:14.707" v="2381" actId="729"/>
        <pc:sldMkLst>
          <pc:docMk/>
          <pc:sldMk cId="180976933" sldId="2147376298"/>
        </pc:sldMkLst>
        <pc:spChg chg="mod">
          <ac:chgData name="Shah, Darshan" userId="f1eafdf3-04ad-4481-8ca3-f8e7e1050566" providerId="ADAL" clId="{2848C94A-76ED-4642-A389-14D41ECEB48A}" dt="2024-07-20T13:14:06.153" v="1004" actId="20577"/>
          <ac:spMkLst>
            <pc:docMk/>
            <pc:sldMk cId="180976933" sldId="2147376298"/>
            <ac:spMk id="2" creationId="{AC170BC0-1537-F475-92FA-5062D3070592}"/>
          </ac:spMkLst>
        </pc:spChg>
        <pc:spChg chg="del mod">
          <ac:chgData name="Shah, Darshan" userId="f1eafdf3-04ad-4481-8ca3-f8e7e1050566" providerId="ADAL" clId="{2848C94A-76ED-4642-A389-14D41ECEB48A}" dt="2024-07-23T03:32:47.667" v="1042" actId="478"/>
          <ac:spMkLst>
            <pc:docMk/>
            <pc:sldMk cId="180976933" sldId="2147376298"/>
            <ac:spMk id="3" creationId="{0BB28CD5-1D22-99AF-06B0-F2C6A31AE2BC}"/>
          </ac:spMkLst>
        </pc:spChg>
        <pc:spChg chg="mod">
          <ac:chgData name="Shah, Darshan" userId="f1eafdf3-04ad-4481-8ca3-f8e7e1050566" providerId="ADAL" clId="{2848C94A-76ED-4642-A389-14D41ECEB48A}" dt="2024-07-20T12:06:53.074" v="874" actId="207"/>
          <ac:spMkLst>
            <pc:docMk/>
            <pc:sldMk cId="180976933" sldId="2147376298"/>
            <ac:spMk id="4" creationId="{41071365-473D-748C-DB42-6C909F8EA95B}"/>
          </ac:spMkLst>
        </pc:spChg>
        <pc:spChg chg="del">
          <ac:chgData name="Shah, Darshan" userId="f1eafdf3-04ad-4481-8ca3-f8e7e1050566" providerId="ADAL" clId="{2848C94A-76ED-4642-A389-14D41ECEB48A}" dt="2024-07-20T12:03:36.970" v="723" actId="478"/>
          <ac:spMkLst>
            <pc:docMk/>
            <pc:sldMk cId="180976933" sldId="2147376298"/>
            <ac:spMk id="5" creationId="{15A9EE3A-1CEA-E04E-257E-42716BCFC440}"/>
          </ac:spMkLst>
        </pc:spChg>
        <pc:spChg chg="del mod">
          <ac:chgData name="Shah, Darshan" userId="f1eafdf3-04ad-4481-8ca3-f8e7e1050566" providerId="ADAL" clId="{2848C94A-76ED-4642-A389-14D41ECEB48A}" dt="2024-07-23T03:32:43.761" v="1041" actId="478"/>
          <ac:spMkLst>
            <pc:docMk/>
            <pc:sldMk cId="180976933" sldId="2147376298"/>
            <ac:spMk id="6" creationId="{1F27E1F8-E12A-BA86-7AD8-14DC7A405F5C}"/>
          </ac:spMkLst>
        </pc:spChg>
        <pc:picChg chg="add mod">
          <ac:chgData name="Shah, Darshan" userId="f1eafdf3-04ad-4481-8ca3-f8e7e1050566" providerId="ADAL" clId="{2848C94A-76ED-4642-A389-14D41ECEB48A}" dt="2024-07-20T12:06:44.924" v="872" actId="14100"/>
          <ac:picMkLst>
            <pc:docMk/>
            <pc:sldMk cId="180976933" sldId="2147376298"/>
            <ac:picMk id="8" creationId="{0469987C-7716-50C5-BD9C-CC2EE55500FA}"/>
          </ac:picMkLst>
        </pc:picChg>
      </pc:sldChg>
      <pc:sldChg chg="addSp delSp modSp add del mod modClrScheme chgLayout">
        <pc:chgData name="Shah, Darshan" userId="f1eafdf3-04ad-4481-8ca3-f8e7e1050566" providerId="ADAL" clId="{2848C94A-76ED-4642-A389-14D41ECEB48A}" dt="2024-07-20T10:32:56.234" v="591" actId="47"/>
        <pc:sldMkLst>
          <pc:docMk/>
          <pc:sldMk cId="2402944224" sldId="2147376298"/>
        </pc:sldMkLst>
        <pc:spChg chg="mod ord">
          <ac:chgData name="Shah, Darshan" userId="f1eafdf3-04ad-4481-8ca3-f8e7e1050566" providerId="ADAL" clId="{2848C94A-76ED-4642-A389-14D41ECEB48A}" dt="2024-07-20T10:32:48.397" v="590" actId="26606"/>
          <ac:spMkLst>
            <pc:docMk/>
            <pc:sldMk cId="2402944224" sldId="2147376298"/>
            <ac:spMk id="7" creationId="{AF610D59-100A-717F-4174-BE6F841D6F09}"/>
          </ac:spMkLst>
        </pc:spChg>
        <pc:spChg chg="mod">
          <ac:chgData name="Shah, Darshan" userId="f1eafdf3-04ad-4481-8ca3-f8e7e1050566" providerId="ADAL" clId="{2848C94A-76ED-4642-A389-14D41ECEB48A}" dt="2024-07-20T10:32:48.397" v="590" actId="26606"/>
          <ac:spMkLst>
            <pc:docMk/>
            <pc:sldMk cId="2402944224" sldId="2147376298"/>
            <ac:spMk id="11" creationId="{946E8802-0EA8-BE99-5D9F-FB7365501508}"/>
          </ac:spMkLst>
        </pc:spChg>
        <pc:spChg chg="mod">
          <ac:chgData name="Shah, Darshan" userId="f1eafdf3-04ad-4481-8ca3-f8e7e1050566" providerId="ADAL" clId="{2848C94A-76ED-4642-A389-14D41ECEB48A}" dt="2024-07-20T10:32:48.397" v="590" actId="26606"/>
          <ac:spMkLst>
            <pc:docMk/>
            <pc:sldMk cId="2402944224" sldId="2147376298"/>
            <ac:spMk id="18" creationId="{A7897D3E-4AB7-2F35-5985-50E12077E851}"/>
          </ac:spMkLst>
        </pc:spChg>
        <pc:spChg chg="add del mod">
          <ac:chgData name="Shah, Darshan" userId="f1eafdf3-04ad-4481-8ca3-f8e7e1050566" providerId="ADAL" clId="{2848C94A-76ED-4642-A389-14D41ECEB48A}" dt="2024-07-20T10:32:25.831" v="585" actId="26606"/>
          <ac:spMkLst>
            <pc:docMk/>
            <pc:sldMk cId="2402944224" sldId="2147376298"/>
            <ac:spMk id="23" creationId="{1BB2D3CA-BA2B-452E-066D-803B731AF07D}"/>
          </ac:spMkLst>
        </pc:spChg>
        <pc:spChg chg="add del mod">
          <ac:chgData name="Shah, Darshan" userId="f1eafdf3-04ad-4481-8ca3-f8e7e1050566" providerId="ADAL" clId="{2848C94A-76ED-4642-A389-14D41ECEB48A}" dt="2024-07-20T10:32:25.831" v="585" actId="26606"/>
          <ac:spMkLst>
            <pc:docMk/>
            <pc:sldMk cId="2402944224" sldId="2147376298"/>
            <ac:spMk id="25" creationId="{D44117CC-8D32-EC3F-FCFF-7E4810529840}"/>
          </ac:spMkLst>
        </pc:spChg>
        <pc:spChg chg="add del mod">
          <ac:chgData name="Shah, Darshan" userId="f1eafdf3-04ad-4481-8ca3-f8e7e1050566" providerId="ADAL" clId="{2848C94A-76ED-4642-A389-14D41ECEB48A}" dt="2024-07-20T10:32:25.831" v="585" actId="26606"/>
          <ac:spMkLst>
            <pc:docMk/>
            <pc:sldMk cId="2402944224" sldId="2147376298"/>
            <ac:spMk id="27" creationId="{14C68552-CDC1-091C-D143-0D0A9920E6D0}"/>
          </ac:spMkLst>
        </pc:spChg>
        <pc:spChg chg="add del mod">
          <ac:chgData name="Shah, Darshan" userId="f1eafdf3-04ad-4481-8ca3-f8e7e1050566" providerId="ADAL" clId="{2848C94A-76ED-4642-A389-14D41ECEB48A}" dt="2024-07-20T10:32:25.831" v="585" actId="26606"/>
          <ac:spMkLst>
            <pc:docMk/>
            <pc:sldMk cId="2402944224" sldId="2147376298"/>
            <ac:spMk id="29" creationId="{3AE85C79-BE7B-51A4-B3CA-B7E07B30171E}"/>
          </ac:spMkLst>
        </pc:spChg>
        <pc:spChg chg="add del mod">
          <ac:chgData name="Shah, Darshan" userId="f1eafdf3-04ad-4481-8ca3-f8e7e1050566" providerId="ADAL" clId="{2848C94A-76ED-4642-A389-14D41ECEB48A}" dt="2024-07-20T10:32:35.388" v="587" actId="26606"/>
          <ac:spMkLst>
            <pc:docMk/>
            <pc:sldMk cId="2402944224" sldId="2147376298"/>
            <ac:spMk id="31" creationId="{AF610C16-C2C2-49DE-B581-7866F18CAE93}"/>
          </ac:spMkLst>
        </pc:spChg>
        <pc:spChg chg="add del mod">
          <ac:chgData name="Shah, Darshan" userId="f1eafdf3-04ad-4481-8ca3-f8e7e1050566" providerId="ADAL" clId="{2848C94A-76ED-4642-A389-14D41ECEB48A}" dt="2024-07-20T10:32:35.388" v="587" actId="26606"/>
          <ac:spMkLst>
            <pc:docMk/>
            <pc:sldMk cId="2402944224" sldId="2147376298"/>
            <ac:spMk id="32" creationId="{0FAD3AA8-B2FE-9ECF-7D27-F8EA7454EDAD}"/>
          </ac:spMkLst>
        </pc:spChg>
        <pc:spChg chg="add del mod">
          <ac:chgData name="Shah, Darshan" userId="f1eafdf3-04ad-4481-8ca3-f8e7e1050566" providerId="ADAL" clId="{2848C94A-76ED-4642-A389-14D41ECEB48A}" dt="2024-07-20T10:32:35.388" v="587" actId="26606"/>
          <ac:spMkLst>
            <pc:docMk/>
            <pc:sldMk cId="2402944224" sldId="2147376298"/>
            <ac:spMk id="33" creationId="{CC4F40DC-73D8-5CA0-870D-F45F531A8D43}"/>
          </ac:spMkLst>
        </pc:spChg>
        <pc:spChg chg="add del mod">
          <ac:chgData name="Shah, Darshan" userId="f1eafdf3-04ad-4481-8ca3-f8e7e1050566" providerId="ADAL" clId="{2848C94A-76ED-4642-A389-14D41ECEB48A}" dt="2024-07-20T10:32:35.388" v="587" actId="26606"/>
          <ac:spMkLst>
            <pc:docMk/>
            <pc:sldMk cId="2402944224" sldId="2147376298"/>
            <ac:spMk id="34" creationId="{11CA6155-9579-A47D-3CCC-A4BD7D4F7F0E}"/>
          </ac:spMkLst>
        </pc:spChg>
        <pc:spChg chg="add del mod">
          <ac:chgData name="Shah, Darshan" userId="f1eafdf3-04ad-4481-8ca3-f8e7e1050566" providerId="ADAL" clId="{2848C94A-76ED-4642-A389-14D41ECEB48A}" dt="2024-07-20T10:32:48.382" v="589" actId="26606"/>
          <ac:spMkLst>
            <pc:docMk/>
            <pc:sldMk cId="2402944224" sldId="2147376298"/>
            <ac:spMk id="36" creationId="{8512C9AD-4F7B-14FD-D984-E7F66F1364AE}"/>
          </ac:spMkLst>
        </pc:spChg>
        <pc:spChg chg="add del mod">
          <ac:chgData name="Shah, Darshan" userId="f1eafdf3-04ad-4481-8ca3-f8e7e1050566" providerId="ADAL" clId="{2848C94A-76ED-4642-A389-14D41ECEB48A}" dt="2024-07-20T10:32:48.382" v="589" actId="26606"/>
          <ac:spMkLst>
            <pc:docMk/>
            <pc:sldMk cId="2402944224" sldId="2147376298"/>
            <ac:spMk id="37" creationId="{4C2A2E60-39CE-09EF-2375-BB444DAFBBD2}"/>
          </ac:spMkLst>
        </pc:spChg>
        <pc:spChg chg="add mod">
          <ac:chgData name="Shah, Darshan" userId="f1eafdf3-04ad-4481-8ca3-f8e7e1050566" providerId="ADAL" clId="{2848C94A-76ED-4642-A389-14D41ECEB48A}" dt="2024-07-20T10:32:48.397" v="590" actId="26606"/>
          <ac:spMkLst>
            <pc:docMk/>
            <pc:sldMk cId="2402944224" sldId="2147376298"/>
            <ac:spMk id="39" creationId="{A06764A8-36DE-9DBE-31F6-6E8F5A6BED79}"/>
          </ac:spMkLst>
        </pc:spChg>
        <pc:spChg chg="add mod">
          <ac:chgData name="Shah, Darshan" userId="f1eafdf3-04ad-4481-8ca3-f8e7e1050566" providerId="ADAL" clId="{2848C94A-76ED-4642-A389-14D41ECEB48A}" dt="2024-07-20T10:32:48.397" v="590" actId="26606"/>
          <ac:spMkLst>
            <pc:docMk/>
            <pc:sldMk cId="2402944224" sldId="2147376298"/>
            <ac:spMk id="40" creationId="{B3D35AFF-1846-1844-878E-4AFD8817D445}"/>
          </ac:spMkLst>
        </pc:spChg>
        <pc:spChg chg="add mod">
          <ac:chgData name="Shah, Darshan" userId="f1eafdf3-04ad-4481-8ca3-f8e7e1050566" providerId="ADAL" clId="{2848C94A-76ED-4642-A389-14D41ECEB48A}" dt="2024-07-20T10:32:48.397" v="590" actId="26606"/>
          <ac:spMkLst>
            <pc:docMk/>
            <pc:sldMk cId="2402944224" sldId="2147376298"/>
            <ac:spMk id="41" creationId="{C6961E8C-3F72-DEAF-4FA3-FCDFDE53C9CA}"/>
          </ac:spMkLst>
        </pc:spChg>
        <pc:spChg chg="add mod">
          <ac:chgData name="Shah, Darshan" userId="f1eafdf3-04ad-4481-8ca3-f8e7e1050566" providerId="ADAL" clId="{2848C94A-76ED-4642-A389-14D41ECEB48A}" dt="2024-07-20T10:32:48.397" v="590" actId="26606"/>
          <ac:spMkLst>
            <pc:docMk/>
            <pc:sldMk cId="2402944224" sldId="2147376298"/>
            <ac:spMk id="42" creationId="{2402425F-4522-C2A1-D6B4-7FC5C729761A}"/>
          </ac:spMkLst>
        </pc:spChg>
        <pc:picChg chg="mod">
          <ac:chgData name="Shah, Darshan" userId="f1eafdf3-04ad-4481-8ca3-f8e7e1050566" providerId="ADAL" clId="{2848C94A-76ED-4642-A389-14D41ECEB48A}" dt="2024-07-20T10:32:48.397" v="590" actId="26606"/>
          <ac:picMkLst>
            <pc:docMk/>
            <pc:sldMk cId="2402944224" sldId="2147376298"/>
            <ac:picMk id="6" creationId="{CF6C8D7E-35EE-61EC-72A0-5B29226002CF}"/>
          </ac:picMkLst>
        </pc:picChg>
        <pc:picChg chg="mod ord">
          <ac:chgData name="Shah, Darshan" userId="f1eafdf3-04ad-4481-8ca3-f8e7e1050566" providerId="ADAL" clId="{2848C94A-76ED-4642-A389-14D41ECEB48A}" dt="2024-07-20T10:32:48.397" v="590" actId="26606"/>
          <ac:picMkLst>
            <pc:docMk/>
            <pc:sldMk cId="2402944224" sldId="2147376298"/>
            <ac:picMk id="13" creationId="{2721FFD1-1366-0321-F19D-4E2C183DC41F}"/>
          </ac:picMkLst>
        </pc:picChg>
        <pc:picChg chg="mod ord">
          <ac:chgData name="Shah, Darshan" userId="f1eafdf3-04ad-4481-8ca3-f8e7e1050566" providerId="ADAL" clId="{2848C94A-76ED-4642-A389-14D41ECEB48A}" dt="2024-07-20T10:32:48.397" v="590" actId="26606"/>
          <ac:picMkLst>
            <pc:docMk/>
            <pc:sldMk cId="2402944224" sldId="2147376298"/>
            <ac:picMk id="15" creationId="{BE5F2016-E6FA-6676-239D-10DE136CF7FE}"/>
          </ac:picMkLst>
        </pc:picChg>
      </pc:sldChg>
      <pc:sldChg chg="addSp delSp modSp new del mod">
        <pc:chgData name="Shah, Darshan" userId="f1eafdf3-04ad-4481-8ca3-f8e7e1050566" providerId="ADAL" clId="{2848C94A-76ED-4642-A389-14D41ECEB48A}" dt="2024-07-23T07:55:19.471" v="1826" actId="47"/>
        <pc:sldMkLst>
          <pc:docMk/>
          <pc:sldMk cId="1785585685" sldId="2147376299"/>
        </pc:sldMkLst>
        <pc:spChg chg="del">
          <ac:chgData name="Shah, Darshan" userId="f1eafdf3-04ad-4481-8ca3-f8e7e1050566" providerId="ADAL" clId="{2848C94A-76ED-4642-A389-14D41ECEB48A}" dt="2024-07-20T12:19:42.123" v="905"/>
          <ac:spMkLst>
            <pc:docMk/>
            <pc:sldMk cId="1785585685" sldId="2147376299"/>
            <ac:spMk id="2" creationId="{4CF00522-7DD0-5467-55CD-0A1F61BD48B1}"/>
          </ac:spMkLst>
        </pc:spChg>
        <pc:spChg chg="del">
          <ac:chgData name="Shah, Darshan" userId="f1eafdf3-04ad-4481-8ca3-f8e7e1050566" providerId="ADAL" clId="{2848C94A-76ED-4642-A389-14D41ECEB48A}" dt="2024-07-20T12:19:50.616" v="906" actId="26606"/>
          <ac:spMkLst>
            <pc:docMk/>
            <pc:sldMk cId="1785585685" sldId="2147376299"/>
            <ac:spMk id="3" creationId="{56B5AE82-FC51-A0B6-85F9-A813F9DF3EFD}"/>
          </ac:spMkLst>
        </pc:spChg>
        <pc:spChg chg="del">
          <ac:chgData name="Shah, Darshan" userId="f1eafdf3-04ad-4481-8ca3-f8e7e1050566" providerId="ADAL" clId="{2848C94A-76ED-4642-A389-14D41ECEB48A}" dt="2024-07-20T12:19:50.616" v="906" actId="26606"/>
          <ac:spMkLst>
            <pc:docMk/>
            <pc:sldMk cId="1785585685" sldId="2147376299"/>
            <ac:spMk id="4" creationId="{655247F9-D596-CD2F-3962-9251FD670CA4}"/>
          </ac:spMkLst>
        </pc:spChg>
        <pc:spChg chg="del">
          <ac:chgData name="Shah, Darshan" userId="f1eafdf3-04ad-4481-8ca3-f8e7e1050566" providerId="ADAL" clId="{2848C94A-76ED-4642-A389-14D41ECEB48A}" dt="2024-07-20T12:19:50.616" v="906" actId="26606"/>
          <ac:spMkLst>
            <pc:docMk/>
            <pc:sldMk cId="1785585685" sldId="2147376299"/>
            <ac:spMk id="5" creationId="{291FFC60-C7EC-6405-4B24-66A9EEC37EB8}"/>
          </ac:spMkLst>
        </pc:spChg>
        <pc:spChg chg="add del">
          <ac:chgData name="Shah, Darshan" userId="f1eafdf3-04ad-4481-8ca3-f8e7e1050566" providerId="ADAL" clId="{2848C94A-76ED-4642-A389-14D41ECEB48A}" dt="2024-07-20T12:57:02.291" v="929" actId="22"/>
          <ac:spMkLst>
            <pc:docMk/>
            <pc:sldMk cId="1785585685" sldId="2147376299"/>
            <ac:spMk id="2055" creationId="{24ECC284-90D2-1439-BD08-A1C08A37EB69}"/>
          </ac:spMkLst>
        </pc:spChg>
        <pc:spChg chg="add mod">
          <ac:chgData name="Shah, Darshan" userId="f1eafdf3-04ad-4481-8ca3-f8e7e1050566" providerId="ADAL" clId="{2848C94A-76ED-4642-A389-14D41ECEB48A}" dt="2024-07-20T13:12:39.384" v="991" actId="20577"/>
          <ac:spMkLst>
            <pc:docMk/>
            <pc:sldMk cId="1785585685" sldId="2147376299"/>
            <ac:spMk id="2057" creationId="{1175EF65-AF4F-BCF6-1C26-F61833E78144}"/>
          </ac:spMkLst>
        </pc:spChg>
        <pc:spChg chg="add del">
          <ac:chgData name="Shah, Darshan" userId="f1eafdf3-04ad-4481-8ca3-f8e7e1050566" providerId="ADAL" clId="{2848C94A-76ED-4642-A389-14D41ECEB48A}" dt="2024-07-20T12:57:08.722" v="930" actId="26606"/>
          <ac:spMkLst>
            <pc:docMk/>
            <pc:sldMk cId="1785585685" sldId="2147376299"/>
            <ac:spMk id="2059" creationId="{FD204375-DB9C-AE5C-DC82-BC02876E85E4}"/>
          </ac:spMkLst>
        </pc:spChg>
        <pc:spChg chg="add">
          <ac:chgData name="Shah, Darshan" userId="f1eafdf3-04ad-4481-8ca3-f8e7e1050566" providerId="ADAL" clId="{2848C94A-76ED-4642-A389-14D41ECEB48A}" dt="2024-07-20T12:57:08.722" v="930" actId="26606"/>
          <ac:spMkLst>
            <pc:docMk/>
            <pc:sldMk cId="1785585685" sldId="2147376299"/>
            <ac:spMk id="2064" creationId="{008179FC-9057-6B8F-6413-E70E340986A2}"/>
          </ac:spMkLst>
        </pc:spChg>
        <pc:picChg chg="add mod ord">
          <ac:chgData name="Shah, Darshan" userId="f1eafdf3-04ad-4481-8ca3-f8e7e1050566" providerId="ADAL" clId="{2848C94A-76ED-4642-A389-14D41ECEB48A}" dt="2024-07-20T12:57:08.722" v="930" actId="26606"/>
          <ac:picMkLst>
            <pc:docMk/>
            <pc:sldMk cId="1785585685" sldId="2147376299"/>
            <ac:picMk id="7" creationId="{96ED4751-837F-98C6-AA11-5D2D77A281C4}"/>
          </ac:picMkLst>
        </pc:picChg>
        <pc:picChg chg="add mod">
          <ac:chgData name="Shah, Darshan" userId="f1eafdf3-04ad-4481-8ca3-f8e7e1050566" providerId="ADAL" clId="{2848C94A-76ED-4642-A389-14D41ECEB48A}" dt="2024-07-20T12:57:08.722" v="930" actId="26606"/>
          <ac:picMkLst>
            <pc:docMk/>
            <pc:sldMk cId="1785585685" sldId="2147376299"/>
            <ac:picMk id="2050" creationId="{4668D8A4-4D12-E2E0-BEF8-C1D87F04F4F4}"/>
          </ac:picMkLst>
        </pc:picChg>
      </pc:sldChg>
      <pc:sldChg chg="new del">
        <pc:chgData name="Shah, Darshan" userId="f1eafdf3-04ad-4481-8ca3-f8e7e1050566" providerId="ADAL" clId="{2848C94A-76ED-4642-A389-14D41ECEB48A}" dt="2024-07-20T13:27:05.754" v="1009" actId="47"/>
        <pc:sldMkLst>
          <pc:docMk/>
          <pc:sldMk cId="287599782" sldId="2147376300"/>
        </pc:sldMkLst>
      </pc:sldChg>
      <pc:sldChg chg="addSp delSp modSp new mod modClrScheme chgLayout">
        <pc:chgData name="Shah, Darshan" userId="f1eafdf3-04ad-4481-8ca3-f8e7e1050566" providerId="ADAL" clId="{2848C94A-76ED-4642-A389-14D41ECEB48A}" dt="2024-07-23T12:48:57.603" v="2406" actId="20577"/>
        <pc:sldMkLst>
          <pc:docMk/>
          <pc:sldMk cId="2687772747" sldId="2147376300"/>
        </pc:sldMkLst>
        <pc:spChg chg="del">
          <ac:chgData name="Shah, Darshan" userId="f1eafdf3-04ad-4481-8ca3-f8e7e1050566" providerId="ADAL" clId="{2848C94A-76ED-4642-A389-14D41ECEB48A}" dt="2024-07-23T03:41:17.911" v="1128"/>
          <ac:spMkLst>
            <pc:docMk/>
            <pc:sldMk cId="2687772747" sldId="2147376300"/>
            <ac:spMk id="2" creationId="{787612F9-73B0-3CC6-A29A-CCA26E415BAE}"/>
          </ac:spMkLst>
        </pc:spChg>
        <pc:spChg chg="add del">
          <ac:chgData name="Shah, Darshan" userId="f1eafdf3-04ad-4481-8ca3-f8e7e1050566" providerId="ADAL" clId="{2848C94A-76ED-4642-A389-14D41ECEB48A}" dt="2024-07-23T03:41:45.410" v="1131" actId="26606"/>
          <ac:spMkLst>
            <pc:docMk/>
            <pc:sldMk cId="2687772747" sldId="2147376300"/>
            <ac:spMk id="3" creationId="{2E2B3610-5B93-D25D-90F2-55BE81DF9001}"/>
          </ac:spMkLst>
        </pc:spChg>
        <pc:spChg chg="add del mod">
          <ac:chgData name="Shah, Darshan" userId="f1eafdf3-04ad-4481-8ca3-f8e7e1050566" providerId="ADAL" clId="{2848C94A-76ED-4642-A389-14D41ECEB48A}" dt="2024-07-23T03:41:45.384" v="1130" actId="26606"/>
          <ac:spMkLst>
            <pc:docMk/>
            <pc:sldMk cId="2687772747" sldId="2147376300"/>
            <ac:spMk id="9" creationId="{7575A5B7-91CC-A186-9AD4-44DCFBCFD523}"/>
          </ac:spMkLst>
        </pc:spChg>
        <pc:spChg chg="add del mod">
          <ac:chgData name="Shah, Darshan" userId="f1eafdf3-04ad-4481-8ca3-f8e7e1050566" providerId="ADAL" clId="{2848C94A-76ED-4642-A389-14D41ECEB48A}" dt="2024-07-23T03:41:45.384" v="1130" actId="26606"/>
          <ac:spMkLst>
            <pc:docMk/>
            <pc:sldMk cId="2687772747" sldId="2147376300"/>
            <ac:spMk id="11" creationId="{40A438E3-0939-2C65-353D-F009E9DC7E2D}"/>
          </ac:spMkLst>
        </pc:spChg>
        <pc:spChg chg="add del mod">
          <ac:chgData name="Shah, Darshan" userId="f1eafdf3-04ad-4481-8ca3-f8e7e1050566" providerId="ADAL" clId="{2848C94A-76ED-4642-A389-14D41ECEB48A}" dt="2024-07-23T03:41:45.384" v="1130" actId="26606"/>
          <ac:spMkLst>
            <pc:docMk/>
            <pc:sldMk cId="2687772747" sldId="2147376300"/>
            <ac:spMk id="13" creationId="{0F0BE47A-84FB-CD82-CE86-86707A2DA030}"/>
          </ac:spMkLst>
        </pc:spChg>
        <pc:spChg chg="add del mod">
          <ac:chgData name="Shah, Darshan" userId="f1eafdf3-04ad-4481-8ca3-f8e7e1050566" providerId="ADAL" clId="{2848C94A-76ED-4642-A389-14D41ECEB48A}" dt="2024-07-23T03:41:45.384" v="1130" actId="26606"/>
          <ac:spMkLst>
            <pc:docMk/>
            <pc:sldMk cId="2687772747" sldId="2147376300"/>
            <ac:spMk id="15" creationId="{6A49157E-D087-8477-20CD-478179C74CBE}"/>
          </ac:spMkLst>
        </pc:spChg>
        <pc:spChg chg="add mod">
          <ac:chgData name="Shah, Darshan" userId="f1eafdf3-04ad-4481-8ca3-f8e7e1050566" providerId="ADAL" clId="{2848C94A-76ED-4642-A389-14D41ECEB48A}" dt="2024-07-23T03:49:07.408" v="1206" actId="1076"/>
          <ac:spMkLst>
            <pc:docMk/>
            <pc:sldMk cId="2687772747" sldId="2147376300"/>
            <ac:spMk id="17" creationId="{89536F59-0973-9CB3-F7BA-71E59650D887}"/>
          </ac:spMkLst>
        </pc:spChg>
        <pc:spChg chg="add del mod">
          <ac:chgData name="Shah, Darshan" userId="f1eafdf3-04ad-4481-8ca3-f8e7e1050566" providerId="ADAL" clId="{2848C94A-76ED-4642-A389-14D41ECEB48A}" dt="2024-07-23T03:42:08.896" v="1133" actId="478"/>
          <ac:spMkLst>
            <pc:docMk/>
            <pc:sldMk cId="2687772747" sldId="2147376300"/>
            <ac:spMk id="18" creationId="{BB7115F8-E476-303D-402D-CE25B4EE2473}"/>
          </ac:spMkLst>
        </pc:spChg>
        <pc:spChg chg="add mod">
          <ac:chgData name="Shah, Darshan" userId="f1eafdf3-04ad-4481-8ca3-f8e7e1050566" providerId="ADAL" clId="{2848C94A-76ED-4642-A389-14D41ECEB48A}" dt="2024-07-23T08:03:52.240" v="2319" actId="20577"/>
          <ac:spMkLst>
            <pc:docMk/>
            <pc:sldMk cId="2687772747" sldId="2147376300"/>
            <ac:spMk id="19" creationId="{6D05D9A9-3FAD-E89C-C28D-DA3CEFB6BD26}"/>
          </ac:spMkLst>
        </pc:spChg>
        <pc:spChg chg="add mod">
          <ac:chgData name="Shah, Darshan" userId="f1eafdf3-04ad-4481-8ca3-f8e7e1050566" providerId="ADAL" clId="{2848C94A-76ED-4642-A389-14D41ECEB48A}" dt="2024-07-23T03:43:18.820" v="1183" actId="6549"/>
          <ac:spMkLst>
            <pc:docMk/>
            <pc:sldMk cId="2687772747" sldId="2147376300"/>
            <ac:spMk id="20" creationId="{CDEFC5BC-64AD-71A1-F6BC-395F775F7E4A}"/>
          </ac:spMkLst>
        </pc:spChg>
        <pc:graphicFrameChg chg="add mod modGraphic">
          <ac:chgData name="Shah, Darshan" userId="f1eafdf3-04ad-4481-8ca3-f8e7e1050566" providerId="ADAL" clId="{2848C94A-76ED-4642-A389-14D41ECEB48A}" dt="2024-07-23T12:48:57.603" v="2406" actId="20577"/>
          <ac:graphicFrameMkLst>
            <pc:docMk/>
            <pc:sldMk cId="2687772747" sldId="2147376300"/>
            <ac:graphicFrameMk id="4" creationId="{20DF6C71-E993-DA36-A381-B04E2A502F09}"/>
          </ac:graphicFrameMkLst>
        </pc:graphicFrameChg>
      </pc:sldChg>
      <pc:sldChg chg="addSp delSp modSp new mod modClrScheme chgLayout">
        <pc:chgData name="Shah, Darshan" userId="f1eafdf3-04ad-4481-8ca3-f8e7e1050566" providerId="ADAL" clId="{2848C94A-76ED-4642-A389-14D41ECEB48A}" dt="2024-07-23T12:55:34.681" v="2522" actId="313"/>
        <pc:sldMkLst>
          <pc:docMk/>
          <pc:sldMk cId="2168902754" sldId="2147376301"/>
        </pc:sldMkLst>
        <pc:spChg chg="del">
          <ac:chgData name="Shah, Darshan" userId="f1eafdf3-04ad-4481-8ca3-f8e7e1050566" providerId="ADAL" clId="{2848C94A-76ED-4642-A389-14D41ECEB48A}" dt="2024-07-23T03:47:16.096" v="1187" actId="26606"/>
          <ac:spMkLst>
            <pc:docMk/>
            <pc:sldMk cId="2168902754" sldId="2147376301"/>
            <ac:spMk id="2" creationId="{B986CCC3-F908-01E6-B2A2-99FCAF5478D4}"/>
          </ac:spMkLst>
        </pc:spChg>
        <pc:spChg chg="del">
          <ac:chgData name="Shah, Darshan" userId="f1eafdf3-04ad-4481-8ca3-f8e7e1050566" providerId="ADAL" clId="{2848C94A-76ED-4642-A389-14D41ECEB48A}" dt="2024-07-23T03:47:16.096" v="1187" actId="26606"/>
          <ac:spMkLst>
            <pc:docMk/>
            <pc:sldMk cId="2168902754" sldId="2147376301"/>
            <ac:spMk id="3" creationId="{DD8DE2A3-01B2-8293-4137-70EE56998876}"/>
          </ac:spMkLst>
        </pc:spChg>
        <pc:spChg chg="del">
          <ac:chgData name="Shah, Darshan" userId="f1eafdf3-04ad-4481-8ca3-f8e7e1050566" providerId="ADAL" clId="{2848C94A-76ED-4642-A389-14D41ECEB48A}" dt="2024-07-23T03:47:16.096" v="1187" actId="26606"/>
          <ac:spMkLst>
            <pc:docMk/>
            <pc:sldMk cId="2168902754" sldId="2147376301"/>
            <ac:spMk id="4" creationId="{D8EA03FB-A3E6-7B53-02E0-4499D1D869C9}"/>
          </ac:spMkLst>
        </pc:spChg>
        <pc:spChg chg="del">
          <ac:chgData name="Shah, Darshan" userId="f1eafdf3-04ad-4481-8ca3-f8e7e1050566" providerId="ADAL" clId="{2848C94A-76ED-4642-A389-14D41ECEB48A}" dt="2024-07-23T03:47:16.096" v="1187" actId="26606"/>
          <ac:spMkLst>
            <pc:docMk/>
            <pc:sldMk cId="2168902754" sldId="2147376301"/>
            <ac:spMk id="5" creationId="{8345FCC2-E04C-21DC-ED10-D10DA2CB4F6E}"/>
          </ac:spMkLst>
        </pc:spChg>
        <pc:spChg chg="del">
          <ac:chgData name="Shah, Darshan" userId="f1eafdf3-04ad-4481-8ca3-f8e7e1050566" providerId="ADAL" clId="{2848C94A-76ED-4642-A389-14D41ECEB48A}" dt="2024-07-23T03:47:16.096" v="1187" actId="26606"/>
          <ac:spMkLst>
            <pc:docMk/>
            <pc:sldMk cId="2168902754" sldId="2147376301"/>
            <ac:spMk id="6" creationId="{215039C5-6810-2428-C1E7-86CBC876710B}"/>
          </ac:spMkLst>
        </pc:spChg>
        <pc:spChg chg="add mod">
          <ac:chgData name="Shah, Darshan" userId="f1eafdf3-04ad-4481-8ca3-f8e7e1050566" providerId="ADAL" clId="{2848C94A-76ED-4642-A389-14D41ECEB48A}" dt="2024-07-23T03:49:27.485" v="1216" actId="20577"/>
          <ac:spMkLst>
            <pc:docMk/>
            <pc:sldMk cId="2168902754" sldId="2147376301"/>
            <ac:spMk id="9" creationId="{12B8F2CF-76EC-76AC-0A89-925F6E363A8A}"/>
          </ac:spMkLst>
        </pc:spChg>
        <pc:spChg chg="add mod">
          <ac:chgData name="Shah, Darshan" userId="f1eafdf3-04ad-4481-8ca3-f8e7e1050566" providerId="ADAL" clId="{2848C94A-76ED-4642-A389-14D41ECEB48A}" dt="2024-07-23T03:49:49.390" v="1271" actId="20577"/>
          <ac:spMkLst>
            <pc:docMk/>
            <pc:sldMk cId="2168902754" sldId="2147376301"/>
            <ac:spMk id="10" creationId="{62F9F2D9-79C3-E1E0-3981-F7CE471E9729}"/>
          </ac:spMkLst>
        </pc:spChg>
        <pc:spChg chg="add del mod">
          <ac:chgData name="Shah, Darshan" userId="f1eafdf3-04ad-4481-8ca3-f8e7e1050566" providerId="ADAL" clId="{2848C94A-76ED-4642-A389-14D41ECEB48A}" dt="2024-07-23T08:01:47.867" v="2197" actId="478"/>
          <ac:spMkLst>
            <pc:docMk/>
            <pc:sldMk cId="2168902754" sldId="2147376301"/>
            <ac:spMk id="11" creationId="{0DB775BC-4EFC-0425-345E-C333722502F3}"/>
          </ac:spMkLst>
        </pc:spChg>
        <pc:spChg chg="add del mod">
          <ac:chgData name="Shah, Darshan" userId="f1eafdf3-04ad-4481-8ca3-f8e7e1050566" providerId="ADAL" clId="{2848C94A-76ED-4642-A389-14D41ECEB48A}" dt="2024-07-23T03:49:12.270" v="1208" actId="478"/>
          <ac:spMkLst>
            <pc:docMk/>
            <pc:sldMk cId="2168902754" sldId="2147376301"/>
            <ac:spMk id="12" creationId="{E020DED9-1567-6BAA-9A63-0736D4C905F2}"/>
          </ac:spMkLst>
        </pc:spChg>
        <pc:graphicFrameChg chg="add mod modGraphic">
          <ac:chgData name="Shah, Darshan" userId="f1eafdf3-04ad-4481-8ca3-f8e7e1050566" providerId="ADAL" clId="{2848C94A-76ED-4642-A389-14D41ECEB48A}" dt="2024-07-23T12:55:34.681" v="2522" actId="313"/>
          <ac:graphicFrameMkLst>
            <pc:docMk/>
            <pc:sldMk cId="2168902754" sldId="2147376301"/>
            <ac:graphicFrameMk id="7" creationId="{C7B4E6C0-090A-1B3B-1DE5-C629F3C5768A}"/>
          </ac:graphicFrameMkLst>
        </pc:graphicFrameChg>
      </pc:sldChg>
      <pc:sldChg chg="add del">
        <pc:chgData name="Shah, Darshan" userId="f1eafdf3-04ad-4481-8ca3-f8e7e1050566" providerId="ADAL" clId="{2848C94A-76ED-4642-A389-14D41ECEB48A}" dt="2024-07-20T13:27:51.709" v="1010" actId="47"/>
        <pc:sldMkLst>
          <pc:docMk/>
          <pc:sldMk cId="2265885549" sldId="2147376301"/>
        </pc:sldMkLst>
      </pc:sldChg>
      <pc:sldChg chg="modSp add mod">
        <pc:chgData name="Shah, Darshan" userId="f1eafdf3-04ad-4481-8ca3-f8e7e1050566" providerId="ADAL" clId="{2848C94A-76ED-4642-A389-14D41ECEB48A}" dt="2024-07-23T12:55:54.516" v="2524" actId="313"/>
        <pc:sldMkLst>
          <pc:docMk/>
          <pc:sldMk cId="2565070855" sldId="2147376302"/>
        </pc:sldMkLst>
        <pc:spChg chg="mod">
          <ac:chgData name="Shah, Darshan" userId="f1eafdf3-04ad-4481-8ca3-f8e7e1050566" providerId="ADAL" clId="{2848C94A-76ED-4642-A389-14D41ECEB48A}" dt="2024-07-23T03:54:05.315" v="1338" actId="20577"/>
          <ac:spMkLst>
            <pc:docMk/>
            <pc:sldMk cId="2565070855" sldId="2147376302"/>
            <ac:spMk id="9" creationId="{12B8F2CF-76EC-76AC-0A89-925F6E363A8A}"/>
          </ac:spMkLst>
        </pc:spChg>
        <pc:spChg chg="mod">
          <ac:chgData name="Shah, Darshan" userId="f1eafdf3-04ad-4481-8ca3-f8e7e1050566" providerId="ADAL" clId="{2848C94A-76ED-4642-A389-14D41ECEB48A}" dt="2024-07-23T03:51:10.486" v="1287" actId="20577"/>
          <ac:spMkLst>
            <pc:docMk/>
            <pc:sldMk cId="2565070855" sldId="2147376302"/>
            <ac:spMk id="10" creationId="{62F9F2D9-79C3-E1E0-3981-F7CE471E9729}"/>
          </ac:spMkLst>
        </pc:spChg>
        <pc:graphicFrameChg chg="mod modGraphic">
          <ac:chgData name="Shah, Darshan" userId="f1eafdf3-04ad-4481-8ca3-f8e7e1050566" providerId="ADAL" clId="{2848C94A-76ED-4642-A389-14D41ECEB48A}" dt="2024-07-23T12:55:54.516" v="2524" actId="313"/>
          <ac:graphicFrameMkLst>
            <pc:docMk/>
            <pc:sldMk cId="2565070855" sldId="2147376302"/>
            <ac:graphicFrameMk id="7" creationId="{C7B4E6C0-090A-1B3B-1DE5-C629F3C5768A}"/>
          </ac:graphicFrameMkLst>
        </pc:graphicFrameChg>
      </pc:sldChg>
      <pc:sldChg chg="modSp add mod">
        <pc:chgData name="Shah, Darshan" userId="f1eafdf3-04ad-4481-8ca3-f8e7e1050566" providerId="ADAL" clId="{2848C94A-76ED-4642-A389-14D41ECEB48A}" dt="2024-07-23T12:56:02.368" v="2526" actId="313"/>
        <pc:sldMkLst>
          <pc:docMk/>
          <pc:sldMk cId="1759200453" sldId="2147376303"/>
        </pc:sldMkLst>
        <pc:spChg chg="mod">
          <ac:chgData name="Shah, Darshan" userId="f1eafdf3-04ad-4481-8ca3-f8e7e1050566" providerId="ADAL" clId="{2848C94A-76ED-4642-A389-14D41ECEB48A}" dt="2024-07-23T03:52:28.723" v="1332" actId="20577"/>
          <ac:spMkLst>
            <pc:docMk/>
            <pc:sldMk cId="1759200453" sldId="2147376303"/>
            <ac:spMk id="10" creationId="{62F9F2D9-79C3-E1E0-3981-F7CE471E9729}"/>
          </ac:spMkLst>
        </pc:spChg>
        <pc:graphicFrameChg chg="mod modGraphic">
          <ac:chgData name="Shah, Darshan" userId="f1eafdf3-04ad-4481-8ca3-f8e7e1050566" providerId="ADAL" clId="{2848C94A-76ED-4642-A389-14D41ECEB48A}" dt="2024-07-23T12:56:02.368" v="2526" actId="313"/>
          <ac:graphicFrameMkLst>
            <pc:docMk/>
            <pc:sldMk cId="1759200453" sldId="2147376303"/>
            <ac:graphicFrameMk id="7" creationId="{C7B4E6C0-090A-1B3B-1DE5-C629F3C5768A}"/>
          </ac:graphicFrameMkLst>
        </pc:graphicFrameChg>
      </pc:sldChg>
      <pc:sldChg chg="addSp delSp modSp add mod modClrScheme chgLayout">
        <pc:chgData name="Shah, Darshan" userId="f1eafdf3-04ad-4481-8ca3-f8e7e1050566" providerId="ADAL" clId="{2848C94A-76ED-4642-A389-14D41ECEB48A}" dt="2024-07-23T12:50:24.323" v="2476" actId="20577"/>
        <pc:sldMkLst>
          <pc:docMk/>
          <pc:sldMk cId="1077972130" sldId="2147376304"/>
        </pc:sldMkLst>
        <pc:spChg chg="mod">
          <ac:chgData name="Shah, Darshan" userId="f1eafdf3-04ad-4481-8ca3-f8e7e1050566" providerId="ADAL" clId="{2848C94A-76ED-4642-A389-14D41ECEB48A}" dt="2024-07-23T07:40:33.745" v="1671" actId="1076"/>
          <ac:spMkLst>
            <pc:docMk/>
            <pc:sldMk cId="1077972130" sldId="2147376304"/>
            <ac:spMk id="9" creationId="{12B8F2CF-76EC-76AC-0A89-925F6E363A8A}"/>
          </ac:spMkLst>
        </pc:spChg>
        <pc:spChg chg="add del">
          <ac:chgData name="Shah, Darshan" userId="f1eafdf3-04ad-4481-8ca3-f8e7e1050566" providerId="ADAL" clId="{2848C94A-76ED-4642-A389-14D41ECEB48A}" dt="2024-07-23T07:30:42.486" v="1347" actId="26606"/>
          <ac:spMkLst>
            <pc:docMk/>
            <pc:sldMk cId="1077972130" sldId="2147376304"/>
            <ac:spMk id="10" creationId="{62F9F2D9-79C3-E1E0-3981-F7CE471E9729}"/>
          </ac:spMkLst>
        </pc:spChg>
        <pc:spChg chg="add del mod">
          <ac:chgData name="Shah, Darshan" userId="f1eafdf3-04ad-4481-8ca3-f8e7e1050566" providerId="ADAL" clId="{2848C94A-76ED-4642-A389-14D41ECEB48A}" dt="2024-07-23T07:30:34.141" v="1344" actId="26606"/>
          <ac:spMkLst>
            <pc:docMk/>
            <pc:sldMk cId="1077972130" sldId="2147376304"/>
            <ac:spMk id="15" creationId="{E1FB1C41-9ADA-539D-A10B-B1795B465685}"/>
          </ac:spMkLst>
        </pc:spChg>
        <pc:spChg chg="add del mod">
          <ac:chgData name="Shah, Darshan" userId="f1eafdf3-04ad-4481-8ca3-f8e7e1050566" providerId="ADAL" clId="{2848C94A-76ED-4642-A389-14D41ECEB48A}" dt="2024-07-23T07:30:34.141" v="1344" actId="26606"/>
          <ac:spMkLst>
            <pc:docMk/>
            <pc:sldMk cId="1077972130" sldId="2147376304"/>
            <ac:spMk id="17" creationId="{1DD8213D-3712-83F4-3F42-3FF235D16848}"/>
          </ac:spMkLst>
        </pc:spChg>
        <pc:spChg chg="add del mod">
          <ac:chgData name="Shah, Darshan" userId="f1eafdf3-04ad-4481-8ca3-f8e7e1050566" providerId="ADAL" clId="{2848C94A-76ED-4642-A389-14D41ECEB48A}" dt="2024-07-23T07:30:34.141" v="1344" actId="26606"/>
          <ac:spMkLst>
            <pc:docMk/>
            <pc:sldMk cId="1077972130" sldId="2147376304"/>
            <ac:spMk id="19" creationId="{31F4F0A8-D68A-04FE-4BDC-F6E39ED14826}"/>
          </ac:spMkLst>
        </pc:spChg>
        <pc:spChg chg="add del mod">
          <ac:chgData name="Shah, Darshan" userId="f1eafdf3-04ad-4481-8ca3-f8e7e1050566" providerId="ADAL" clId="{2848C94A-76ED-4642-A389-14D41ECEB48A}" dt="2024-07-23T07:30:42.470" v="1346" actId="26606"/>
          <ac:spMkLst>
            <pc:docMk/>
            <pc:sldMk cId="1077972130" sldId="2147376304"/>
            <ac:spMk id="21" creationId="{490B2966-9514-2B3E-55B5-63C934FB3552}"/>
          </ac:spMkLst>
        </pc:spChg>
        <pc:spChg chg="add del mod">
          <ac:chgData name="Shah, Darshan" userId="f1eafdf3-04ad-4481-8ca3-f8e7e1050566" providerId="ADAL" clId="{2848C94A-76ED-4642-A389-14D41ECEB48A}" dt="2024-07-23T07:30:42.470" v="1346" actId="26606"/>
          <ac:spMkLst>
            <pc:docMk/>
            <pc:sldMk cId="1077972130" sldId="2147376304"/>
            <ac:spMk id="22" creationId="{4A06BD9F-5A1A-623D-07D9-4680001BFF1B}"/>
          </ac:spMkLst>
        </pc:spChg>
        <pc:spChg chg="add del mod">
          <ac:chgData name="Shah, Darshan" userId="f1eafdf3-04ad-4481-8ca3-f8e7e1050566" providerId="ADAL" clId="{2848C94A-76ED-4642-A389-14D41ECEB48A}" dt="2024-07-23T07:30:42.470" v="1346" actId="26606"/>
          <ac:spMkLst>
            <pc:docMk/>
            <pc:sldMk cId="1077972130" sldId="2147376304"/>
            <ac:spMk id="23" creationId="{FC57E2C3-9122-BAEC-A25D-BEBCF2EF12ED}"/>
          </ac:spMkLst>
        </pc:spChg>
        <pc:spChg chg="add mod">
          <ac:chgData name="Shah, Darshan" userId="f1eafdf3-04ad-4481-8ca3-f8e7e1050566" providerId="ADAL" clId="{2848C94A-76ED-4642-A389-14D41ECEB48A}" dt="2024-07-23T07:30:42.486" v="1347" actId="26606"/>
          <ac:spMkLst>
            <pc:docMk/>
            <pc:sldMk cId="1077972130" sldId="2147376304"/>
            <ac:spMk id="25" creationId="{E1FB1C41-9ADA-539D-A10B-B1795B465685}"/>
          </ac:spMkLst>
        </pc:spChg>
        <pc:spChg chg="add mod">
          <ac:chgData name="Shah, Darshan" userId="f1eafdf3-04ad-4481-8ca3-f8e7e1050566" providerId="ADAL" clId="{2848C94A-76ED-4642-A389-14D41ECEB48A}" dt="2024-07-23T07:30:42.486" v="1347" actId="26606"/>
          <ac:spMkLst>
            <pc:docMk/>
            <pc:sldMk cId="1077972130" sldId="2147376304"/>
            <ac:spMk id="26" creationId="{1DD8213D-3712-83F4-3F42-3FF235D16848}"/>
          </ac:spMkLst>
        </pc:spChg>
        <pc:spChg chg="add mod">
          <ac:chgData name="Shah, Darshan" userId="f1eafdf3-04ad-4481-8ca3-f8e7e1050566" providerId="ADAL" clId="{2848C94A-76ED-4642-A389-14D41ECEB48A}" dt="2024-07-23T07:40:23.682" v="1669" actId="20577"/>
          <ac:spMkLst>
            <pc:docMk/>
            <pc:sldMk cId="1077972130" sldId="2147376304"/>
            <ac:spMk id="27" creationId="{31F4F0A8-D68A-04FE-4BDC-F6E39ED14826}"/>
          </ac:spMkLst>
        </pc:spChg>
        <pc:graphicFrameChg chg="add mod modGraphic">
          <ac:chgData name="Shah, Darshan" userId="f1eafdf3-04ad-4481-8ca3-f8e7e1050566" providerId="ADAL" clId="{2848C94A-76ED-4642-A389-14D41ECEB48A}" dt="2024-07-23T12:50:24.323" v="2476" actId="20577"/>
          <ac:graphicFrameMkLst>
            <pc:docMk/>
            <pc:sldMk cId="1077972130" sldId="2147376304"/>
            <ac:graphicFrameMk id="2" creationId="{3372A635-0196-BB8B-D505-56C7FDDA8FDF}"/>
          </ac:graphicFrameMkLst>
        </pc:graphicFrameChg>
        <pc:graphicFrameChg chg="del">
          <ac:chgData name="Shah, Darshan" userId="f1eafdf3-04ad-4481-8ca3-f8e7e1050566" providerId="ADAL" clId="{2848C94A-76ED-4642-A389-14D41ECEB48A}" dt="2024-07-23T07:29:20.085" v="1341" actId="478"/>
          <ac:graphicFrameMkLst>
            <pc:docMk/>
            <pc:sldMk cId="1077972130" sldId="2147376304"/>
            <ac:graphicFrameMk id="7" creationId="{C7B4E6C0-090A-1B3B-1DE5-C629F3C5768A}"/>
          </ac:graphicFrameMkLst>
        </pc:graphicFrameChg>
      </pc:sldChg>
      <pc:sldChg chg="add del">
        <pc:chgData name="Shah, Darshan" userId="f1eafdf3-04ad-4481-8ca3-f8e7e1050566" providerId="ADAL" clId="{2848C94A-76ED-4642-A389-14D41ECEB48A}" dt="2024-07-23T03:54:06.344" v="1339"/>
        <pc:sldMkLst>
          <pc:docMk/>
          <pc:sldMk cId="2088923585" sldId="2147376304"/>
        </pc:sldMkLst>
      </pc:sldChg>
      <pc:sldChg chg="modSp add mod">
        <pc:chgData name="Shah, Darshan" userId="f1eafdf3-04ad-4481-8ca3-f8e7e1050566" providerId="ADAL" clId="{2848C94A-76ED-4642-A389-14D41ECEB48A}" dt="2024-07-23T12:50:40.825" v="2491" actId="20577"/>
        <pc:sldMkLst>
          <pc:docMk/>
          <pc:sldMk cId="4007245093" sldId="2147376305"/>
        </pc:sldMkLst>
        <pc:spChg chg="mod">
          <ac:chgData name="Shah, Darshan" userId="f1eafdf3-04ad-4481-8ca3-f8e7e1050566" providerId="ADAL" clId="{2848C94A-76ED-4642-A389-14D41ECEB48A}" dt="2024-07-23T07:47:55.273" v="1693" actId="20577"/>
          <ac:spMkLst>
            <pc:docMk/>
            <pc:sldMk cId="4007245093" sldId="2147376305"/>
            <ac:spMk id="9" creationId="{12B8F2CF-76EC-76AC-0A89-925F6E363A8A}"/>
          </ac:spMkLst>
        </pc:spChg>
        <pc:graphicFrameChg chg="mod modGraphic">
          <ac:chgData name="Shah, Darshan" userId="f1eafdf3-04ad-4481-8ca3-f8e7e1050566" providerId="ADAL" clId="{2848C94A-76ED-4642-A389-14D41ECEB48A}" dt="2024-07-23T12:50:40.825" v="2491" actId="20577"/>
          <ac:graphicFrameMkLst>
            <pc:docMk/>
            <pc:sldMk cId="4007245093" sldId="2147376305"/>
            <ac:graphicFrameMk id="2" creationId="{3372A635-0196-BB8B-D505-56C7FDDA8FDF}"/>
          </ac:graphicFrameMkLst>
        </pc:graphicFrameChg>
      </pc:sldChg>
      <pc:sldChg chg="modSp add mod">
        <pc:chgData name="Shah, Darshan" userId="f1eafdf3-04ad-4481-8ca3-f8e7e1050566" providerId="ADAL" clId="{2848C94A-76ED-4642-A389-14D41ECEB48A}" dt="2024-07-23T12:51:45.543" v="2516" actId="20577"/>
        <pc:sldMkLst>
          <pc:docMk/>
          <pc:sldMk cId="1830840932" sldId="2147376306"/>
        </pc:sldMkLst>
        <pc:spChg chg="mod">
          <ac:chgData name="Shah, Darshan" userId="f1eafdf3-04ad-4481-8ca3-f8e7e1050566" providerId="ADAL" clId="{2848C94A-76ED-4642-A389-14D41ECEB48A}" dt="2024-07-23T07:50:10.205" v="1732" actId="20577"/>
          <ac:spMkLst>
            <pc:docMk/>
            <pc:sldMk cId="1830840932" sldId="2147376306"/>
            <ac:spMk id="9" creationId="{12B8F2CF-76EC-76AC-0A89-925F6E363A8A}"/>
          </ac:spMkLst>
        </pc:spChg>
        <pc:graphicFrameChg chg="mod modGraphic">
          <ac:chgData name="Shah, Darshan" userId="f1eafdf3-04ad-4481-8ca3-f8e7e1050566" providerId="ADAL" clId="{2848C94A-76ED-4642-A389-14D41ECEB48A}" dt="2024-07-23T12:51:45.543" v="2516" actId="20577"/>
          <ac:graphicFrameMkLst>
            <pc:docMk/>
            <pc:sldMk cId="1830840932" sldId="2147376306"/>
            <ac:graphicFrameMk id="2" creationId="{3372A635-0196-BB8B-D505-56C7FDDA8FDF}"/>
          </ac:graphicFrameMkLst>
        </pc:graphicFrameChg>
      </pc:sldChg>
      <pc:sldChg chg="add mod modShow">
        <pc:chgData name="Shah, Darshan" userId="f1eafdf3-04ad-4481-8ca3-f8e7e1050566" providerId="ADAL" clId="{2848C94A-76ED-4642-A389-14D41ECEB48A}" dt="2024-07-23T12:12:33.705" v="2382" actId="729"/>
        <pc:sldMkLst>
          <pc:docMk/>
          <pc:sldMk cId="1739133564" sldId="2147376307"/>
        </pc:sldMkLst>
      </pc:sldChg>
      <pc:sldChg chg="add del">
        <pc:chgData name="Shah, Darshan" userId="f1eafdf3-04ad-4481-8ca3-f8e7e1050566" providerId="ADAL" clId="{2848C94A-76ED-4642-A389-14D41ECEB48A}" dt="2024-07-23T12:55:15.018" v="2520" actId="47"/>
        <pc:sldMkLst>
          <pc:docMk/>
          <pc:sldMk cId="570040411" sldId="2147376308"/>
        </pc:sldMkLst>
      </pc:sldChg>
      <pc:sldMasterChg chg="delSldLayout">
        <pc:chgData name="Shah, Darshan" userId="f1eafdf3-04ad-4481-8ca3-f8e7e1050566" providerId="ADAL" clId="{2848C94A-76ED-4642-A389-14D41ECEB48A}" dt="2024-07-23T08:04:13.301" v="2321" actId="47"/>
        <pc:sldMasterMkLst>
          <pc:docMk/>
          <pc:sldMasterMk cId="495659210" sldId="2147483896"/>
        </pc:sldMasterMkLst>
        <pc:sldLayoutChg chg="del">
          <pc:chgData name="Shah, Darshan" userId="f1eafdf3-04ad-4481-8ca3-f8e7e1050566" providerId="ADAL" clId="{2848C94A-76ED-4642-A389-14D41ECEB48A}" dt="2024-07-23T08:04:13.301" v="2321" actId="47"/>
          <pc:sldLayoutMkLst>
            <pc:docMk/>
            <pc:sldMasterMk cId="495659210" sldId="2147483896"/>
            <pc:sldLayoutMk cId="1452099480" sldId="2147483946"/>
          </pc:sldLayoutMkLst>
        </pc:sldLayoutChg>
        <pc:sldLayoutChg chg="del">
          <pc:chgData name="Shah, Darshan" userId="f1eafdf3-04ad-4481-8ca3-f8e7e1050566" providerId="ADAL" clId="{2848C94A-76ED-4642-A389-14D41ECEB48A}" dt="2024-07-20T13:27:52.557" v="1011" actId="47"/>
          <pc:sldLayoutMkLst>
            <pc:docMk/>
            <pc:sldMasterMk cId="495659210" sldId="2147483896"/>
            <pc:sldLayoutMk cId="387693806" sldId="2147483947"/>
          </pc:sldLayoutMkLst>
        </pc:sldLayoutChg>
      </pc:sldMasterChg>
      <pc:sldMasterChg chg="del delSldLayout">
        <pc:chgData name="Shah, Darshan" userId="f1eafdf3-04ad-4481-8ca3-f8e7e1050566" providerId="ADAL" clId="{2848C94A-76ED-4642-A389-14D41ECEB48A}" dt="2024-07-20T13:27:51.709" v="1010" actId="47"/>
        <pc:sldMasterMkLst>
          <pc:docMk/>
          <pc:sldMasterMk cId="1061710466" sldId="2147483948"/>
        </pc:sldMasterMkLst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2923621300" sldId="2147483949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606823639" sldId="2147483950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1590835347" sldId="2147483951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877515625" sldId="2147483952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3303535442" sldId="2147483953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1270672503" sldId="2147483954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3521443486" sldId="2147483955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2917805045" sldId="2147483956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1940588035" sldId="2147483957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2527093536" sldId="2147483958"/>
          </pc:sldLayoutMkLst>
        </pc:sldLayoutChg>
        <pc:sldLayoutChg chg="del">
          <pc:chgData name="Shah, Darshan" userId="f1eafdf3-04ad-4481-8ca3-f8e7e1050566" providerId="ADAL" clId="{2848C94A-76ED-4642-A389-14D41ECEB48A}" dt="2024-07-20T13:27:51.709" v="1010" actId="47"/>
          <pc:sldLayoutMkLst>
            <pc:docMk/>
            <pc:sldMasterMk cId="1061710466" sldId="2147483948"/>
            <pc:sldLayoutMk cId="3402803395" sldId="214748395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3024978" cy="456704"/>
          </a:xfrm>
          <a:prstGeom prst="rect">
            <a:avLst/>
          </a:prstGeom>
        </p:spPr>
        <p:txBody>
          <a:bodyPr vert="horz" lIns="86986" tIns="43493" rIns="86986" bIns="43493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3699" y="2"/>
            <a:ext cx="3024978" cy="456704"/>
          </a:xfrm>
          <a:prstGeom prst="rect">
            <a:avLst/>
          </a:prstGeom>
        </p:spPr>
        <p:txBody>
          <a:bodyPr vert="horz" lIns="86986" tIns="43493" rIns="86986" bIns="43493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7/23/2024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685880"/>
            <a:ext cx="3024978" cy="456704"/>
          </a:xfrm>
          <a:prstGeom prst="rect">
            <a:avLst/>
          </a:prstGeom>
        </p:spPr>
        <p:txBody>
          <a:bodyPr vert="horz" lIns="86986" tIns="43493" rIns="86986" bIns="43493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699" y="8685880"/>
            <a:ext cx="3024978" cy="456704"/>
          </a:xfrm>
          <a:prstGeom prst="rect">
            <a:avLst/>
          </a:prstGeom>
        </p:spPr>
        <p:txBody>
          <a:bodyPr vert="horz" lIns="86986" tIns="43493" rIns="86986" bIns="43493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24770" cy="457200"/>
          </a:xfrm>
          <a:prstGeom prst="rect">
            <a:avLst/>
          </a:prstGeom>
        </p:spPr>
        <p:txBody>
          <a:bodyPr vert="horz" lIns="94224" tIns="47111" rIns="94224" bIns="47111" rtlCol="0"/>
          <a:lstStyle>
            <a:lvl1pPr algn="l">
              <a:defRPr sz="11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5" y="1"/>
            <a:ext cx="3024770" cy="457200"/>
          </a:xfrm>
          <a:prstGeom prst="rect">
            <a:avLst/>
          </a:prstGeom>
        </p:spPr>
        <p:txBody>
          <a:bodyPr vert="horz" lIns="94224" tIns="47111" rIns="94224" bIns="47111" rtlCol="0"/>
          <a:lstStyle>
            <a:lvl1pPr algn="r">
              <a:defRPr sz="11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7/2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42913" y="687388"/>
            <a:ext cx="6094412" cy="34274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4" tIns="47111" rIns="94224" bIns="4711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5" y="4343400"/>
            <a:ext cx="5584190" cy="4114800"/>
          </a:xfrm>
          <a:prstGeom prst="rect">
            <a:avLst/>
          </a:prstGeom>
        </p:spPr>
        <p:txBody>
          <a:bodyPr vert="horz" lIns="94224" tIns="47111" rIns="94224" bIns="471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4"/>
            <a:ext cx="3024770" cy="457200"/>
          </a:xfrm>
          <a:prstGeom prst="rect">
            <a:avLst/>
          </a:prstGeom>
        </p:spPr>
        <p:txBody>
          <a:bodyPr vert="horz" lIns="94224" tIns="47111" rIns="94224" bIns="47111" rtlCol="0" anchor="b"/>
          <a:lstStyle>
            <a:lvl1pPr algn="l">
              <a:defRPr sz="11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5" y="8685214"/>
            <a:ext cx="3024770" cy="457200"/>
          </a:xfrm>
          <a:prstGeom prst="rect">
            <a:avLst/>
          </a:prstGeom>
        </p:spPr>
        <p:txBody>
          <a:bodyPr vert="horz" lIns="94224" tIns="47111" rIns="94224" bIns="47111" rtlCol="0" anchor="b"/>
          <a:lstStyle>
            <a:lvl1pPr algn="r">
              <a:defRPr sz="11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2913" y="687388"/>
            <a:ext cx="6094412" cy="3427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481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2913" y="687388"/>
            <a:ext cx="6094412" cy="3427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69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94989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89700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78096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60288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7203733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75D951-68C7-4A6F-ADC6-AB9C10E42F0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0549B55-8335-4CC4-9417-E768B8E137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0C08EAE3-1065-497F-B8AA-86005E1B7A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966AA8D-FE19-49A0-B249-C78D2E85CC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2289C80D-1FA5-42CC-A523-8259B7FD08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6261A9E2-F698-4343-96EA-AA0015AC51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1D1108B0-A2B5-43FD-8CC1-CC36168B90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FA473B9-98DD-4132-83C3-26DCC5D0CC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E1286E94-0A74-4D64-8FE5-E2FC7038DC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DB23453-5417-4773-B5E0-516CE48D96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2DF2930F-8858-4645-96D1-C222466957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949767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810344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674626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875970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4072947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757468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798406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5544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140537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261850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763750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676016B-595B-4B09-8A9C-981F4092254D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772A29-A091-45EF-9E05-7D38B8B671A6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1A621E-F4F0-40C4-8952-5BF179427ED7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97155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60E003-ECB4-492B-8A94-28433C076FF8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D54539A-8172-4D14-BE07-3622A53C73DF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76803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838209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512796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448560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2195293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343211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tx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BF939DF8-C67D-4ED5-9DBC-98F2B43BDA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417931" y="725455"/>
            <a:ext cx="5356735" cy="5356735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vert="horz" lIns="108000" tIns="108000" rIns="108000" bIns="108000" rtlCol="0" anchor="ctr" anchorCtr="0">
            <a:normAutofit/>
          </a:bodyPr>
          <a:lstStyle>
            <a:lvl1pPr algn="ctr" defTabSz="914400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8153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841521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1054434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519788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9084700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7477334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3719246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8837650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7248063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4192825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8765488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10908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3397018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7170507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9157680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 userDrawn="1"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9653694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7026709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0C507E7-B81B-4C48-A5AA-EB23023029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A4B9D944-7F4E-42D4-8A84-43402BC40F0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3B7D15E-E3BF-4AE0-B657-86BF4076BE3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75" y="4251853"/>
            <a:ext cx="5466824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60D4485-EAA8-48B3-931F-31B5CEB3E67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80396" y="4251853"/>
            <a:ext cx="5444156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27811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68D44A10-A1BE-4B60-89A4-889D08B8B3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3584464" cy="4265506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F52FC78-7A4E-4367-9DA3-28A234B39D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20000" y="1897258"/>
            <a:ext cx="3556117" cy="422614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D6B6D6E-986C-4D4B-8630-4EBB5F79C2A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084" y="1897258"/>
            <a:ext cx="3556117" cy="422614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461222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6311285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266964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4714485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469900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Shared Services India LLP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F2D29F-D256-48DF-93EB-3649C0F15C84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8627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1265920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2186815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27645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53365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C15CF50B-B21A-4219-A2F3-42CE6472030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6403AF-FAB8-425F-B7B3-1CED91E5B09F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204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46989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Shared Services India LLP.</a:t>
            </a: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46989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Shared Services India LLP.</a:t>
            </a: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653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0871514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270" imgH="270" progId="TCLayout.ActiveDocument.1">
                  <p:embed/>
                </p:oleObj>
              </mc:Choice>
              <mc:Fallback>
                <p:oleObj name="think-cell Slide" r:id="rId5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Copyright"/>
          <p:cNvSpPr txBox="1"/>
          <p:nvPr/>
        </p:nvSpPr>
        <p:spPr>
          <a:xfrm>
            <a:off x="501649" y="6517082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4 Deloitte Shared Services India LLP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48180" y="6517082"/>
            <a:ext cx="1346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65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44" r:id="rId3"/>
    <p:sldLayoutId id="2147483900" r:id="rId4"/>
    <p:sldLayoutId id="2147483901" r:id="rId5"/>
    <p:sldLayoutId id="2147483902" r:id="rId6"/>
    <p:sldLayoutId id="2147483706" r:id="rId7"/>
    <p:sldLayoutId id="2147483707" r:id="rId8"/>
    <p:sldLayoutId id="2147483903" r:id="rId9"/>
    <p:sldLayoutId id="2147483904" r:id="rId10"/>
    <p:sldLayoutId id="2147483905" r:id="rId11"/>
    <p:sldLayoutId id="2147483906" r:id="rId12"/>
    <p:sldLayoutId id="2147483907" r:id="rId13"/>
    <p:sldLayoutId id="2147483908" r:id="rId14"/>
    <p:sldLayoutId id="2147483909" r:id="rId15"/>
    <p:sldLayoutId id="2147483910" r:id="rId16"/>
    <p:sldLayoutId id="2147483911" r:id="rId17"/>
    <p:sldLayoutId id="2147483912" r:id="rId18"/>
    <p:sldLayoutId id="2147483913" r:id="rId19"/>
    <p:sldLayoutId id="2147483914" r:id="rId20"/>
    <p:sldLayoutId id="2147483915" r:id="rId21"/>
    <p:sldLayoutId id="2147483916" r:id="rId22"/>
    <p:sldLayoutId id="2147483917" r:id="rId23"/>
    <p:sldLayoutId id="2147483918" r:id="rId24"/>
    <p:sldLayoutId id="2147483919" r:id="rId25"/>
    <p:sldLayoutId id="2147483920" r:id="rId26"/>
    <p:sldLayoutId id="2147483921" r:id="rId27"/>
    <p:sldLayoutId id="2147483922" r:id="rId28"/>
    <p:sldLayoutId id="2147483923" r:id="rId29"/>
    <p:sldLayoutId id="2147483924" r:id="rId30"/>
    <p:sldLayoutId id="2147483925" r:id="rId31"/>
    <p:sldLayoutId id="2147483926" r:id="rId32"/>
    <p:sldLayoutId id="2147483816" r:id="rId33"/>
    <p:sldLayoutId id="2147483813" r:id="rId34"/>
    <p:sldLayoutId id="2147483818" r:id="rId35"/>
    <p:sldLayoutId id="2147483819" r:id="rId36"/>
    <p:sldLayoutId id="2147483820" r:id="rId37"/>
    <p:sldLayoutId id="2147483821" r:id="rId38"/>
    <p:sldLayoutId id="2147483822" r:id="rId39"/>
    <p:sldLayoutId id="2147483823" r:id="rId40"/>
    <p:sldLayoutId id="2147483817" r:id="rId41"/>
    <p:sldLayoutId id="2147483824" r:id="rId42"/>
    <p:sldLayoutId id="2147483825" r:id="rId43"/>
    <p:sldLayoutId id="2147483828" r:id="rId44"/>
    <p:sldLayoutId id="2147483829" r:id="rId45"/>
    <p:sldLayoutId id="2147483830" r:id="rId46"/>
    <p:sldLayoutId id="2147483826" r:id="rId47"/>
    <p:sldLayoutId id="2147483831" r:id="rId48"/>
    <p:sldLayoutId id="2147483832" r:id="rId49"/>
    <p:sldLayoutId id="2147483827" r:id="rId50"/>
    <p:sldLayoutId id="2147483833" r:id="rId51"/>
    <p:sldLayoutId id="2147483927" r:id="rId52"/>
    <p:sldLayoutId id="2147483928" r:id="rId53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12" userDrawn="1">
          <p15:clr>
            <a:srgbClr val="F26B43"/>
          </p15:clr>
        </p15:guide>
        <p15:guide id="3" pos="1392" userDrawn="1">
          <p15:clr>
            <a:srgbClr val="F26B43"/>
          </p15:clr>
        </p15:guide>
        <p15:guide id="4" pos="1512" userDrawn="1">
          <p15:clr>
            <a:srgbClr val="F26B43"/>
          </p15:clr>
        </p15:guide>
        <p15:guide id="5" pos="2592" userDrawn="1">
          <p15:clr>
            <a:srgbClr val="F26B43"/>
          </p15:clr>
        </p15:guide>
        <p15:guide id="6" pos="2712" userDrawn="1">
          <p15:clr>
            <a:srgbClr val="F26B43"/>
          </p15:clr>
        </p15:guide>
        <p15:guide id="7" pos="3768" userDrawn="1">
          <p15:clr>
            <a:srgbClr val="F26B43"/>
          </p15:clr>
        </p15:guide>
        <p15:guide id="8" pos="7368" userDrawn="1">
          <p15:clr>
            <a:srgbClr val="F26B43"/>
          </p15:clr>
        </p15:guide>
        <p15:guide id="9" pos="6288" userDrawn="1">
          <p15:clr>
            <a:srgbClr val="F26B43"/>
          </p15:clr>
        </p15:guide>
        <p15:guide id="10" pos="6168" userDrawn="1">
          <p15:clr>
            <a:srgbClr val="F26B43"/>
          </p15:clr>
        </p15:guide>
        <p15:guide id="11" pos="5088" userDrawn="1">
          <p15:clr>
            <a:srgbClr val="F26B43"/>
          </p15:clr>
        </p15:guide>
        <p15:guide id="12" pos="4968" userDrawn="1">
          <p15:clr>
            <a:srgbClr val="F26B43"/>
          </p15:clr>
        </p15:guide>
        <p15:guide id="13" pos="3912" userDrawn="1">
          <p15:clr>
            <a:srgbClr val="F26B43"/>
          </p15:clr>
        </p15:guide>
        <p15:guide id="14" orient="horz" pos="4104" userDrawn="1">
          <p15:clr>
            <a:srgbClr val="F26B43"/>
          </p15:clr>
        </p15:guide>
        <p15:guide id="15" orient="horz" pos="4032" userDrawn="1">
          <p15:clr>
            <a:srgbClr val="F26B43"/>
          </p15:clr>
        </p15:guide>
        <p15:guide id="16" orient="horz" pos="2232" userDrawn="1">
          <p15:clr>
            <a:srgbClr val="F26B43"/>
          </p15:clr>
        </p15:guide>
        <p15:guide id="17" orient="horz" pos="1056" userDrawn="1">
          <p15:clr>
            <a:srgbClr val="F26B43"/>
          </p15:clr>
        </p15:guide>
        <p15:guide id="18" orient="horz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apcdeloitte-my.sharepoint.com/personal/dshah18_deloitte_com/Documents/Desktop/Menus/Mumbai/Marriott/Box%20Menu.pdf" TargetMode="External"/><Relationship Id="rId2" Type="http://schemas.openxmlformats.org/officeDocument/2006/relationships/hyperlink" Target="https://apcdeloitte-my.sharepoint.com/personal/dshah18_deloitte_com/Documents/Desktop/Menus/Mumbai/ITC/Table%20for%20Two%20by%20Gourmet%20Couch.pdf" TargetMode="Externa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apcdeloitte-my.sharepoint.com/personal/dshah18_deloitte_com/Documents/Desktop/Menus/Mumbai/Taj/Banquet%20-%20Food%20list%20-%20President%20-%2029.3.2024_compressed.pdf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pcdeloitte-my.sharepoint.com/personal/dshah18_deloitte_com/Documents/Desktop/Menus/Gurgaon/Leela/Packed%20Lunch%20Menu%20-%20The%20Leela%20Ambience.pdf" TargetMode="External"/><Relationship Id="rId2" Type="http://schemas.openxmlformats.org/officeDocument/2006/relationships/hyperlink" Target="https://apcdeloitte-my.sharepoint.com/personal/dshah18_deloitte_com/Documents/Desktop/Menus/Gurgaon/ITC/Celebration-Menu%20by%20ITC%20Hotels.pdf" TargetMode="External"/><Relationship Id="rId1" Type="http://schemas.openxmlformats.org/officeDocument/2006/relationships/slideLayout" Target="../slideLayouts/slideLayout33.xml"/><Relationship Id="rId5" Type="http://schemas.openxmlformats.org/officeDocument/2006/relationships/hyperlink" Target="https://apcdeloitte-my.sharepoint.com/personal/dshah18_deloitte_com/Documents/Desktop/Menus/Gurgaon/Marriott/PACK%20LUNCH%20NON%20VEG.jpeg" TargetMode="External"/><Relationship Id="rId4" Type="http://schemas.openxmlformats.org/officeDocument/2006/relationships/hyperlink" Target="https://apcdeloitte-my.sharepoint.com/personal/dshah18_deloitte_com/Documents/Desktop/Menus/Gurgaon/Taj/Bento%20box%20menu%20Veg%20%20Non%20veg.xlsx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pcdeloitte-my.sharepoint.com/personal/dshah18_deloitte_com/Documents/Desktop/Menus/Bangalore/Taj/DELOITTE%20%20MENUS.xlsx" TargetMode="External"/><Relationship Id="rId2" Type="http://schemas.openxmlformats.org/officeDocument/2006/relationships/hyperlink" Target="https://apcdeloitte-my.sharepoint.com/personal/dshah18_deloitte_com/Documents/Desktop/Menus/Bangalore/ITC/Deloitte%20Buffet%20Menu%20Options%20-%20ITC%20Gardenia%2020.7.2024.xlsx" TargetMode="Externa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apcdeloitte-my.sharepoint.com/personal/dshah18_deloitte_com/Documents/Desktop/Menus/Bangalore/Marriott/EXT%20RE%20Lunch%20menus.msg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apcdeloitte-my.sharepoint.com/personal/dshah18_deloitte_com/Documents/Desktop/Menus/Mumbai/ITC/Deloitte%20-%20Buffet%20Menu%20Options%20ITC%20Grand%20Central.xlsx" TargetMode="External"/><Relationship Id="rId2" Type="http://schemas.openxmlformats.org/officeDocument/2006/relationships/hyperlink" Target="https://apcdeloitte-my.sharepoint.com/personal/dshah18_deloitte_com/Documents/Desktop/Menus/Mumbai/Taj/Sample%20Menus.xlsx" TargetMode="Externa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apcdeloitte-my.sharepoint.com/personal/dshah18_deloitte_com/Documents/Desktop/Menus/Gurgaon/Marriott/Pick%20&amp;%20Choose%20menu.pdf" TargetMode="External"/><Relationship Id="rId2" Type="http://schemas.openxmlformats.org/officeDocument/2006/relationships/hyperlink" Target="https://apcdeloitte-my.sharepoint.com/personal/dshah18_deloitte_com/Documents/Desktop/Menus/Gurgaon/ITC/ODC%20from%20ITC%20Maurya.xlsx" TargetMode="Externa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apcdeloitte-my.sharepoint.com/personal/dshah18_deloitte_com/Documents/Desktop/Menus/Gurgaon/Taj/Deloitte%20lunch%20menu.od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apcdeloitte-my.sharepoint.com/personal/dshah18_deloitte_com/Documents/Desktop/Menus/Bangalore/Marriott/Bento%20Box%20JW%20Marriott%20Bengaluru.pdf" TargetMode="External"/><Relationship Id="rId2" Type="http://schemas.openxmlformats.org/officeDocument/2006/relationships/hyperlink" Target="https://apcdeloitte-my.sharepoint.com/personal/dshah18_deloitte_com/Documents/Desktop/Menus/Bangalore/ITC/Celebration-Menu%20by%20ITC%20Hotels.pdf" TargetMode="Externa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apcdeloitte-my.sharepoint.com/personal/dshah18_deloitte_com/Documents/Desktop/Menus/Bangalore/Taj/PACKED%20LUNCH%20BOX%20MENU%202024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53A8AD-38C0-4854-81B3-9B99B4E007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5341" y="4839365"/>
            <a:ext cx="4446269" cy="895983"/>
          </a:xfrm>
        </p:spPr>
        <p:txBody>
          <a:bodyPr anchor="ctr"/>
          <a:lstStyle/>
          <a:p>
            <a:r>
              <a:rPr lang="en-IN" sz="2400" dirty="0">
                <a:latin typeface="+mn-lt"/>
              </a:rPr>
              <a:t>Menus</a:t>
            </a:r>
            <a:endParaRPr lang="en-US" sz="2400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85340" y="5521750"/>
            <a:ext cx="4446269" cy="766220"/>
          </a:xfrm>
        </p:spPr>
        <p:txBody>
          <a:bodyPr anchor="t"/>
          <a:lstStyle/>
          <a:p>
            <a:r>
              <a:rPr lang="en-US" sz="1800" b="0" dirty="0">
                <a:latin typeface="+mn-lt"/>
              </a:rPr>
              <a:t>2024</a:t>
            </a:r>
          </a:p>
          <a:p>
            <a:r>
              <a:rPr lang="en-US" sz="1800" b="0" dirty="0">
                <a:latin typeface="+mn-lt"/>
              </a:rPr>
              <a:t>Bangalore, Mumbai and Gurga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A08FE6-7880-23CC-98AF-57025E24C6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47" r="16361"/>
          <a:stretch/>
        </p:blipFill>
        <p:spPr>
          <a:xfrm>
            <a:off x="4584793" y="1297578"/>
            <a:ext cx="4370052" cy="443777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FC442474-BB6A-F038-CA81-5DB3457CEFD1}"/>
              </a:ext>
            </a:extLst>
          </p:cNvPr>
          <p:cNvSpPr/>
          <p:nvPr/>
        </p:nvSpPr>
        <p:spPr bwMode="gray">
          <a:xfrm>
            <a:off x="5106238" y="3621492"/>
            <a:ext cx="640080" cy="640080"/>
          </a:xfrm>
          <a:prstGeom prst="ellipse">
            <a:avLst/>
          </a:prstGeom>
          <a:solidFill>
            <a:schemeClr val="accent6">
              <a:alpha val="81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FBF0757-D30E-9FDE-182F-C9710E4C8697}"/>
              </a:ext>
            </a:extLst>
          </p:cNvPr>
          <p:cNvSpPr/>
          <p:nvPr/>
        </p:nvSpPr>
        <p:spPr bwMode="gray">
          <a:xfrm>
            <a:off x="5603065" y="2428790"/>
            <a:ext cx="637239" cy="640080"/>
          </a:xfrm>
          <a:prstGeom prst="ellipse">
            <a:avLst/>
          </a:prstGeom>
          <a:solidFill>
            <a:schemeClr val="accent6">
              <a:alpha val="81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A644DAE-9252-F622-298C-57BD5FE4C9C1}"/>
              </a:ext>
            </a:extLst>
          </p:cNvPr>
          <p:cNvSpPr/>
          <p:nvPr/>
        </p:nvSpPr>
        <p:spPr bwMode="gray">
          <a:xfrm>
            <a:off x="5600224" y="4358380"/>
            <a:ext cx="640080" cy="640080"/>
          </a:xfrm>
          <a:prstGeom prst="ellipse">
            <a:avLst/>
          </a:prstGeom>
          <a:solidFill>
            <a:schemeClr val="accent6">
              <a:alpha val="81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52153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E1FB1C41-9ADA-539D-A10B-B1795B4656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757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1DD8213D-3712-83F4-3F42-3FF235D1684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31F4F0A8-D68A-04FE-4BDC-F6E39ED148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/>
          <a:p>
            <a:r>
              <a:rPr lang="en-US" sz="1100" dirty="0"/>
              <a:t>Transportation, Taxes are charge extra</a:t>
            </a:r>
          </a:p>
          <a:p>
            <a:r>
              <a:rPr lang="en-US" sz="1100" dirty="0"/>
              <a:t>*ITC’s portion is size is for two guest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2B8F2CF-76EC-76AC-0A89-925F6E363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444" y="966661"/>
            <a:ext cx="11188700" cy="334099"/>
          </a:xfrm>
        </p:spPr>
        <p:txBody>
          <a:bodyPr anchor="t">
            <a:normAutofit fontScale="90000"/>
          </a:bodyPr>
          <a:lstStyle/>
          <a:p>
            <a:pPr algn="ctr"/>
            <a:r>
              <a:rPr lang="en-US" sz="3600" dirty="0">
                <a:latin typeface="+mn-lt"/>
                <a:ea typeface="+mn-ea"/>
              </a:rPr>
              <a:t>Bento Boxes for Mumbai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372A635-0196-BB8B-D505-56C7FDDA8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9828432"/>
              </p:ext>
            </p:extLst>
          </p:nvPr>
        </p:nvGraphicFramePr>
        <p:xfrm>
          <a:off x="764859" y="2571650"/>
          <a:ext cx="10662285" cy="30297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6215">
                  <a:extLst>
                    <a:ext uri="{9D8B030D-6E8A-4147-A177-3AD203B41FA5}">
                      <a16:colId xmlns:a16="http://schemas.microsoft.com/office/drawing/2014/main" val="1312371906"/>
                    </a:ext>
                  </a:extLst>
                </a:gridCol>
                <a:gridCol w="2367915">
                  <a:extLst>
                    <a:ext uri="{9D8B030D-6E8A-4147-A177-3AD203B41FA5}">
                      <a16:colId xmlns:a16="http://schemas.microsoft.com/office/drawing/2014/main" val="1811997046"/>
                    </a:ext>
                  </a:extLst>
                </a:gridCol>
                <a:gridCol w="2367915">
                  <a:extLst>
                    <a:ext uri="{9D8B030D-6E8A-4147-A177-3AD203B41FA5}">
                      <a16:colId xmlns:a16="http://schemas.microsoft.com/office/drawing/2014/main" val="1358931825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1853957164"/>
                    </a:ext>
                  </a:extLst>
                </a:gridCol>
              </a:tblGrid>
              <a:tr h="113461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Hotels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Vegetarian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Non Vegetarian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Menu Option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234691776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  <a:hlinkClick r:id="rId2"/>
                        </a:rPr>
                        <a:t>ITC (Central</a:t>
                      </a:r>
                      <a:r>
                        <a:rPr lang="en-IN" sz="3300" u="none" strike="noStrike" dirty="0">
                          <a:effectLst/>
                        </a:rPr>
                        <a:t>)*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275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3250</a:t>
                      </a:r>
                      <a:endParaRPr lang="en-IN" sz="3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Option 2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318491365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  <a:hlinkClick r:id="rId3"/>
                        </a:rPr>
                        <a:t>Marriott (St. Regis</a:t>
                      </a:r>
                      <a:r>
                        <a:rPr lang="en-IN" sz="3300" u="none" strike="noStrike" dirty="0">
                          <a:effectLst/>
                        </a:rPr>
                        <a:t>)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225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255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Option 1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236105585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  <a:hlinkClick r:id="rId4"/>
                        </a:rPr>
                        <a:t>Taj (Qmin</a:t>
                      </a:r>
                      <a:r>
                        <a:rPr lang="en-IN" sz="3300" u="none" strike="noStrike" dirty="0">
                          <a:effectLst/>
                        </a:rPr>
                        <a:t>)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15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16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Option 1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3508323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724509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E1FB1C41-9ADA-539D-A10B-B1795B4656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757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1DD8213D-3712-83F4-3F42-3FF235D1684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31F4F0A8-D68A-04FE-4BDC-F6E39ED148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/>
          <a:p>
            <a:r>
              <a:rPr lang="en-US" sz="1100" dirty="0"/>
              <a:t>Transportation, Taxes are charge extra</a:t>
            </a:r>
          </a:p>
          <a:p>
            <a:r>
              <a:rPr lang="en-US" sz="1100" dirty="0"/>
              <a:t>*ITC’s portion is size is for two guest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2B8F2CF-76EC-76AC-0A89-925F6E363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444" y="966661"/>
            <a:ext cx="11188700" cy="334099"/>
          </a:xfrm>
        </p:spPr>
        <p:txBody>
          <a:bodyPr anchor="t">
            <a:normAutofit fontScale="90000"/>
          </a:bodyPr>
          <a:lstStyle/>
          <a:p>
            <a:pPr algn="ctr"/>
            <a:r>
              <a:rPr lang="en-US" sz="3600" dirty="0">
                <a:latin typeface="+mn-lt"/>
                <a:ea typeface="+mn-ea"/>
              </a:rPr>
              <a:t>Bento Boxes for Gurgaon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372A635-0196-BB8B-D505-56C7FDDA8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86587"/>
              </p:ext>
            </p:extLst>
          </p:nvPr>
        </p:nvGraphicFramePr>
        <p:xfrm>
          <a:off x="670266" y="2031274"/>
          <a:ext cx="10662285" cy="3661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6215">
                  <a:extLst>
                    <a:ext uri="{9D8B030D-6E8A-4147-A177-3AD203B41FA5}">
                      <a16:colId xmlns:a16="http://schemas.microsoft.com/office/drawing/2014/main" val="1312371906"/>
                    </a:ext>
                  </a:extLst>
                </a:gridCol>
                <a:gridCol w="2367915">
                  <a:extLst>
                    <a:ext uri="{9D8B030D-6E8A-4147-A177-3AD203B41FA5}">
                      <a16:colId xmlns:a16="http://schemas.microsoft.com/office/drawing/2014/main" val="1811997046"/>
                    </a:ext>
                  </a:extLst>
                </a:gridCol>
                <a:gridCol w="2367915">
                  <a:extLst>
                    <a:ext uri="{9D8B030D-6E8A-4147-A177-3AD203B41FA5}">
                      <a16:colId xmlns:a16="http://schemas.microsoft.com/office/drawing/2014/main" val="1358931825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1853957164"/>
                    </a:ext>
                  </a:extLst>
                </a:gridCol>
              </a:tblGrid>
              <a:tr h="113461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Hotels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Vegetarian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Non Vegetarian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Menu Option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234691776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  <a:hlinkClick r:id="rId2"/>
                        </a:rPr>
                        <a:t>ITC (Maurya</a:t>
                      </a:r>
                      <a:r>
                        <a:rPr lang="en-IN" sz="3300" u="none" strike="noStrike" dirty="0">
                          <a:effectLst/>
                        </a:rPr>
                        <a:t>)*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275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3250</a:t>
                      </a:r>
                      <a:endParaRPr lang="en-IN" sz="3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Option 2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318491365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  <a:hlinkClick r:id="rId3"/>
                        </a:rPr>
                        <a:t>Leela (Ambience Mall</a:t>
                      </a:r>
                      <a:r>
                        <a:rPr lang="en-IN" sz="3300" u="none" strike="noStrike" dirty="0">
                          <a:effectLst/>
                        </a:rPr>
                        <a:t>)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18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20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Option 1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236105585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  <a:hlinkClick r:id="rId4"/>
                        </a:rPr>
                        <a:t>Taj (City Centre</a:t>
                      </a:r>
                      <a:r>
                        <a:rPr lang="en-IN" sz="3300" u="none" strike="noStrike" dirty="0">
                          <a:effectLst/>
                        </a:rPr>
                        <a:t>)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25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30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Option 1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3508323835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3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Marriott (Westin)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3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3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3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tion 1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2920992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084093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CCCCAAB-F875-4D85-F0CA-330F05C0CE31}"/>
              </a:ext>
            </a:extLst>
          </p:cNvPr>
          <p:cNvSpPr txBox="1">
            <a:spLocks/>
          </p:cNvSpPr>
          <p:nvPr/>
        </p:nvSpPr>
        <p:spPr>
          <a:xfrm>
            <a:off x="338011" y="207388"/>
            <a:ext cx="11685376" cy="6514425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0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67032402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F610D59-100A-717F-4174-BE6F841D6F09}"/>
              </a:ext>
            </a:extLst>
          </p:cNvPr>
          <p:cNvSpPr txBox="1"/>
          <p:nvPr/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42900" indent="-342900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sz="2100" b="0" kern="1200" dirty="0">
                <a:solidFill>
                  <a:schemeClr val="accent3"/>
                </a:solidFill>
                <a:latin typeface="+mn-lt"/>
                <a:ea typeface="+mn-ea"/>
                <a:cs typeface="Calibri Light" panose="020F0302020204030204" pitchFamily="34" charset="0"/>
              </a:rPr>
              <a:t>Total Members – 16</a:t>
            </a:r>
          </a:p>
          <a:p>
            <a:pPr marL="342900" indent="-342900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sz="2100" b="0" kern="1200" dirty="0">
                <a:solidFill>
                  <a:schemeClr val="accent3"/>
                </a:solidFill>
                <a:latin typeface="+mn-lt"/>
                <a:ea typeface="+mn-ea"/>
                <a:cs typeface="Calibri Light" panose="020F0302020204030204" pitchFamily="34" charset="0"/>
              </a:rPr>
              <a:t>Meal Preference – Veg / Non Veg</a:t>
            </a:r>
          </a:p>
          <a:p>
            <a:pPr marL="342900" indent="-342900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sz="2100" b="0" kern="1200" dirty="0">
                <a:solidFill>
                  <a:schemeClr val="accent3"/>
                </a:solidFill>
                <a:latin typeface="+mn-lt"/>
                <a:ea typeface="+mn-ea"/>
                <a:cs typeface="Calibri Light" panose="020F0302020204030204" pitchFamily="34" charset="0"/>
              </a:rPr>
              <a:t>Any Specific Dietary Requirements </a:t>
            </a:r>
          </a:p>
          <a:p>
            <a:pPr marL="342900" indent="-342900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</a:pPr>
            <a:endParaRPr lang="en-US" sz="2100" dirty="0">
              <a:solidFill>
                <a:schemeClr val="accent3"/>
              </a:solidFill>
              <a:cs typeface="Calibri Light" panose="020F0302020204030204" pitchFamily="34" charset="0"/>
            </a:endParaRPr>
          </a:p>
          <a:p>
            <a:pPr marL="342900" indent="-342900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</a:pPr>
            <a:endParaRPr lang="en-US" sz="2100" dirty="0">
              <a:solidFill>
                <a:schemeClr val="accent3"/>
              </a:solidFill>
              <a:cs typeface="Calibri Light" panose="020F0302020204030204" pitchFamily="34" charset="0"/>
            </a:endParaRPr>
          </a:p>
          <a:p>
            <a:pPr marL="342900" indent="-342900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</a:pPr>
            <a:endParaRPr lang="en-US" sz="2100" dirty="0">
              <a:solidFill>
                <a:schemeClr val="accent3"/>
              </a:solidFill>
              <a:cs typeface="Calibri Light" panose="020F0302020204030204" pitchFamily="34" charset="0"/>
            </a:endParaRPr>
          </a:p>
          <a:p>
            <a:pPr marL="342900" indent="-342900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</a:pPr>
            <a:endParaRPr lang="en-US" sz="2100" dirty="0">
              <a:solidFill>
                <a:schemeClr val="accent3"/>
              </a:solidFill>
              <a:cs typeface="Calibri Light" panose="020F0302020204030204" pitchFamily="34" charset="0"/>
            </a:endParaRPr>
          </a:p>
          <a:p>
            <a:pPr marL="342900" indent="-342900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sz="2100" dirty="0">
                <a:solidFill>
                  <a:schemeClr val="accent3"/>
                </a:solidFill>
                <a:cs typeface="Calibri Light" panose="020F0302020204030204" pitchFamily="34" charset="0"/>
              </a:rPr>
              <a:t>Any Known Allergies ( Seafood, Nuts, Milk &amp; Milk Products )</a:t>
            </a:r>
            <a:endParaRPr lang="en-US" sz="2100" b="0" kern="1200" dirty="0">
              <a:solidFill>
                <a:schemeClr val="accent3"/>
              </a:solidFill>
              <a:latin typeface="+mn-lt"/>
              <a:ea typeface="+mn-ea"/>
              <a:cs typeface="Calibri Light" panose="020F03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F6C8D7E-35EE-61EC-72A0-5B29226002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92" y="1658680"/>
            <a:ext cx="7147035" cy="3853166"/>
          </a:xfrm>
          <a:prstGeom prst="rect">
            <a:avLst/>
          </a:prstGeom>
          <a:noFill/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7897D3E-4AB7-2F35-5985-50E12077E8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757255"/>
          </a:xfrm>
        </p:spPr>
        <p:txBody>
          <a:bodyPr/>
          <a:lstStyle/>
          <a:p>
            <a:r>
              <a:rPr lang="en-US" sz="3200" dirty="0"/>
              <a:t>Executive Committe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946E8802-0EA8-BE99-5D9F-FB7365501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 vert="horz" lIns="0" tIns="0" rIns="0" bIns="0" rtlCol="0" anchor="t" anchorCtr="0">
            <a:normAutofit/>
          </a:bodyPr>
          <a:lstStyle/>
          <a:p>
            <a:endParaRPr lang="en-US" kern="1200" dirty="0">
              <a:latin typeface="+mj-lt"/>
              <a:ea typeface="+mj-ea"/>
              <a:cs typeface="Calibri Light" panose="020F03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721FFD1-1366-0321-F19D-4E2C183DC4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7709" y="3765311"/>
            <a:ext cx="789570" cy="60963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E5F2016-E6FA-6676-239D-10DE136CF7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7279" y="3765311"/>
            <a:ext cx="1728668" cy="60963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259A118-6294-1FA2-6BEB-3F5F9EACE7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16504" y="2972565"/>
            <a:ext cx="2686188" cy="264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95911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170BC0-1537-F475-92FA-5062D30705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Demystifying Dietary Specifications &amp; Meal Preferences</a:t>
            </a:r>
            <a:endParaRPr lang="en-IN" sz="3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071365-473D-748C-DB42-6C909F8EA9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1652" y="1505927"/>
            <a:ext cx="11188699" cy="357187"/>
          </a:xfrm>
        </p:spPr>
        <p:txBody>
          <a:bodyPr/>
          <a:lstStyle/>
          <a:p>
            <a:r>
              <a:rPr lang="en-US" sz="1800" dirty="0"/>
              <a:t>An average active adult requires, 2000 KCAL energy per day, though this may vary </a:t>
            </a:r>
            <a:endParaRPr lang="en-IN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469987C-7716-50C5-BD9C-CC2EE55500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651" y="2070538"/>
            <a:ext cx="10965136" cy="456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7693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ee related image detail. Indian Ring Ceremony Catering Services, Pan India, Counter Decoration ...">
            <a:extLst>
              <a:ext uri="{FF2B5EF4-FFF2-40B4-BE49-F238E27FC236}">
                <a16:creationId xmlns:a16="http://schemas.microsoft.com/office/drawing/2014/main" id="{4668D8A4-4D12-E2E0-BEF8-C1D87F04F4F4}"/>
              </a:ext>
            </a:extLst>
          </p:cNvPr>
          <p:cNvPicPr>
            <a:picLocks noGrp="1" noChangeAspect="1" noChangeArrowheads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17" r="-1" b="1285"/>
          <a:stretch/>
        </p:blipFill>
        <p:spPr bwMode="auto">
          <a:xfrm>
            <a:off x="501651" y="1665289"/>
            <a:ext cx="5305579" cy="471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6ED4751-837F-98C6-AA11-5D2D77A281C4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3"/>
          <a:srcRect l="15898" r="4257"/>
          <a:stretch/>
        </p:blipFill>
        <p:spPr>
          <a:xfrm>
            <a:off x="6381539" y="1665289"/>
            <a:ext cx="5322781" cy="4716461"/>
          </a:xfrm>
          <a:noFill/>
        </p:spPr>
      </p:pic>
      <p:sp>
        <p:nvSpPr>
          <p:cNvPr id="2057" name="Text Placeholder 3">
            <a:extLst>
              <a:ext uri="{FF2B5EF4-FFF2-40B4-BE49-F238E27FC236}">
                <a16:creationId xmlns:a16="http://schemas.microsoft.com/office/drawing/2014/main" id="{1175EF65-AF4F-BCF6-1C26-F61833E781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757255"/>
          </a:xfrm>
        </p:spPr>
        <p:txBody>
          <a:bodyPr>
            <a:normAutofit/>
          </a:bodyPr>
          <a:lstStyle/>
          <a:p>
            <a:r>
              <a:rPr lang="en-US" sz="3200" dirty="0"/>
              <a:t>Possible options to cater differing needs</a:t>
            </a:r>
          </a:p>
        </p:txBody>
      </p:sp>
      <p:sp>
        <p:nvSpPr>
          <p:cNvPr id="2064" name="Title 4">
            <a:extLst>
              <a:ext uri="{FF2B5EF4-FFF2-40B4-BE49-F238E27FC236}">
                <a16:creationId xmlns:a16="http://schemas.microsoft.com/office/drawing/2014/main" id="{008179FC-9057-6B8F-6413-E70E3409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13356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89536F59-0973-9CB3-F7BA-71E59650D8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599"/>
            <a:ext cx="11188700" cy="757255"/>
          </a:xfrm>
        </p:spPr>
        <p:txBody>
          <a:bodyPr/>
          <a:lstStyle/>
          <a:p>
            <a:pPr algn="ctr"/>
            <a:r>
              <a:rPr lang="en-US" sz="3600" dirty="0"/>
              <a:t> Menu Composition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D05D9A9-3FAD-E89C-C28D-DA3CEFB6BD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1651" y="5906814"/>
            <a:ext cx="11188700" cy="474937"/>
          </a:xfrm>
        </p:spPr>
        <p:txBody>
          <a:bodyPr/>
          <a:lstStyle/>
          <a:p>
            <a:r>
              <a:rPr lang="en-US" dirty="0"/>
              <a:t>All the Menus are exclusive of Transportation charges and taxes</a:t>
            </a:r>
          </a:p>
          <a:p>
            <a:r>
              <a:rPr lang="en-US" dirty="0"/>
              <a:t>Menu composition and price may change depending on final order</a:t>
            </a:r>
          </a:p>
          <a:p>
            <a:r>
              <a:rPr lang="en-US" dirty="0"/>
              <a:t>Wine Pairing options are available however Deloitte Team will have to procure Alcohol directly</a:t>
            </a:r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CDEFC5BC-64AD-71A1-F6BC-395F775F7E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334099"/>
          </a:xfrm>
        </p:spPr>
        <p:txBody>
          <a:bodyPr/>
          <a:lstStyle/>
          <a:p>
            <a:pPr algn="ctr"/>
            <a:endParaRPr lang="en-US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0DF6C71-E993-DA36-A381-B04E2A502F09}"/>
              </a:ext>
            </a:extLst>
          </p:cNvPr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469438954"/>
              </p:ext>
            </p:extLst>
          </p:nvPr>
        </p:nvGraphicFramePr>
        <p:xfrm>
          <a:off x="501649" y="1689741"/>
          <a:ext cx="11188701" cy="3358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88919">
                  <a:extLst>
                    <a:ext uri="{9D8B030D-6E8A-4147-A177-3AD203B41FA5}">
                      <a16:colId xmlns:a16="http://schemas.microsoft.com/office/drawing/2014/main" val="2398689174"/>
                    </a:ext>
                  </a:extLst>
                </a:gridCol>
                <a:gridCol w="2199927">
                  <a:extLst>
                    <a:ext uri="{9D8B030D-6E8A-4147-A177-3AD203B41FA5}">
                      <a16:colId xmlns:a16="http://schemas.microsoft.com/office/drawing/2014/main" val="1166661887"/>
                    </a:ext>
                  </a:extLst>
                </a:gridCol>
                <a:gridCol w="2241117">
                  <a:extLst>
                    <a:ext uri="{9D8B030D-6E8A-4147-A177-3AD203B41FA5}">
                      <a16:colId xmlns:a16="http://schemas.microsoft.com/office/drawing/2014/main" val="3959956130"/>
                    </a:ext>
                  </a:extLst>
                </a:gridCol>
                <a:gridCol w="2158738">
                  <a:extLst>
                    <a:ext uri="{9D8B030D-6E8A-4147-A177-3AD203B41FA5}">
                      <a16:colId xmlns:a16="http://schemas.microsoft.com/office/drawing/2014/main" val="3989717219"/>
                    </a:ext>
                  </a:extLst>
                </a:gridCol>
              </a:tblGrid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Food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enu Option 1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enu Option 2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enu Option 3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177229489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ocktails / Welcome Drink / </a:t>
                      </a:r>
                      <a:r>
                        <a:rPr lang="en-IN" sz="1600" u="none" strike="noStrike" dirty="0" err="1">
                          <a:effectLst/>
                        </a:rPr>
                        <a:t>Chaas</a:t>
                      </a:r>
                      <a:r>
                        <a:rPr lang="en-IN" sz="1600" u="none" strike="noStrike" dirty="0">
                          <a:effectLst/>
                        </a:rPr>
                        <a:t> / Lassi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3506550241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Amuse Bouche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0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3719307257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Appetizer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 Veg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1 Veg and 1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2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3986959361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Papad</a:t>
                      </a:r>
                      <a:r>
                        <a:rPr lang="en-US" sz="1600" u="none" strike="noStrike" dirty="0">
                          <a:effectLst/>
                        </a:rPr>
                        <a:t>, Raita, Pickle, Condiments and Chutney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2441378212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Curd Rice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1209211541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ain Course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1 Veg and 1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2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3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2483541559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Rice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0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2305317894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Flavoured</a:t>
                      </a:r>
                      <a:r>
                        <a:rPr lang="en-US" sz="1600" u="none" strike="noStrike" dirty="0">
                          <a:effectLst/>
                        </a:rPr>
                        <a:t> Rice (like Pulao / Biryani / Fried Rice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2528710890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Lentil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4049657577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Desserts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3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3692550313"/>
                  </a:ext>
                </a:extLst>
              </a:tr>
              <a:tr h="2798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 err="1">
                          <a:effectLst/>
                        </a:rPr>
                        <a:t>Mukhvaas</a:t>
                      </a:r>
                      <a:r>
                        <a:rPr lang="en-IN" sz="1600" u="none" strike="noStrike" dirty="0">
                          <a:effectLst/>
                        </a:rPr>
                        <a:t> / Mouth </a:t>
                      </a:r>
                      <a:r>
                        <a:rPr lang="en-IN" sz="1600" u="none" strike="noStrike" dirty="0" err="1">
                          <a:effectLst/>
                        </a:rPr>
                        <a:t>Freshner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1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2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3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41" marR="8441" marT="8441" marB="0" anchor="b"/>
                </a:tc>
                <a:extLst>
                  <a:ext uri="{0D108BD9-81ED-4DB2-BD59-A6C34878D82A}">
                    <a16:rowId xmlns:a16="http://schemas.microsoft.com/office/drawing/2014/main" val="31484521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777274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7B4E6C0-090A-1B3B-1DE5-C629F3C576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8607558"/>
              </p:ext>
            </p:extLst>
          </p:nvPr>
        </p:nvGraphicFramePr>
        <p:xfrm>
          <a:off x="516465" y="1135417"/>
          <a:ext cx="11165419" cy="47340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1847">
                  <a:extLst>
                    <a:ext uri="{9D8B030D-6E8A-4147-A177-3AD203B41FA5}">
                      <a16:colId xmlns:a16="http://schemas.microsoft.com/office/drawing/2014/main" val="2717625240"/>
                    </a:ext>
                  </a:extLst>
                </a:gridCol>
                <a:gridCol w="1860535">
                  <a:extLst>
                    <a:ext uri="{9D8B030D-6E8A-4147-A177-3AD203B41FA5}">
                      <a16:colId xmlns:a16="http://schemas.microsoft.com/office/drawing/2014/main" val="3054126124"/>
                    </a:ext>
                  </a:extLst>
                </a:gridCol>
                <a:gridCol w="1895385">
                  <a:extLst>
                    <a:ext uri="{9D8B030D-6E8A-4147-A177-3AD203B41FA5}">
                      <a16:colId xmlns:a16="http://schemas.microsoft.com/office/drawing/2014/main" val="4100188734"/>
                    </a:ext>
                  </a:extLst>
                </a:gridCol>
                <a:gridCol w="1825685">
                  <a:extLst>
                    <a:ext uri="{9D8B030D-6E8A-4147-A177-3AD203B41FA5}">
                      <a16:colId xmlns:a16="http://schemas.microsoft.com/office/drawing/2014/main" val="956831000"/>
                    </a:ext>
                  </a:extLst>
                </a:gridCol>
                <a:gridCol w="1701967">
                  <a:extLst>
                    <a:ext uri="{9D8B030D-6E8A-4147-A177-3AD203B41FA5}">
                      <a16:colId xmlns:a16="http://schemas.microsoft.com/office/drawing/2014/main" val="2442912854"/>
                    </a:ext>
                  </a:extLst>
                </a:gridCol>
              </a:tblGrid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Food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enu Option 1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enu Option 2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enu Option 3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Remarks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4186494881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ocktails / Welcome Drink / </a:t>
                      </a:r>
                      <a:r>
                        <a:rPr lang="en-IN" sz="1600" u="none" strike="noStrike" dirty="0" err="1">
                          <a:effectLst/>
                        </a:rPr>
                        <a:t>Chaas</a:t>
                      </a:r>
                      <a:r>
                        <a:rPr lang="en-IN" sz="1600" u="none" strike="noStrike" dirty="0">
                          <a:effectLst/>
                        </a:rPr>
                        <a:t> / Lassi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2212292364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muse Bouch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0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1993372488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ppetizer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1 Veg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1 Veg and 1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2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1524109391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Papad, Raita, Pickle, Condiments and Chutney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3912774544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Curd Ric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3497364756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ain Cours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1 Veg and 1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2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3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47805617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Ric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0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548948912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Flavored Rice </a:t>
                      </a:r>
                    </a:p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(like Pulao / Biryani / Fried Rice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2669822180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Lenti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199993846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Desserts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3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2665498266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ukhvaas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3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4081300605"/>
                  </a:ext>
                </a:extLst>
              </a:tr>
              <a:tr h="4012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effectLst/>
                          <a:hlinkClick r:id="rId2"/>
                        </a:rPr>
                        <a:t>ITC (Gardenia</a:t>
                      </a:r>
                      <a:r>
                        <a:rPr lang="en-IN" sz="1600" b="1" u="none" strike="noStrike" dirty="0">
                          <a:effectLst/>
                        </a:rPr>
                        <a:t>)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>
                          <a:effectLst/>
                        </a:rPr>
                        <a:t>2500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>
                          <a:effectLst/>
                        </a:rPr>
                        <a:t>2750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>
                          <a:effectLst/>
                        </a:rPr>
                        <a:t>3000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4.2 Kms to PTT,</a:t>
                      </a:r>
                      <a:br>
                        <a:rPr lang="en-US" sz="1600" u="none" strike="noStrike">
                          <a:effectLst/>
                        </a:rPr>
                      </a:br>
                      <a:r>
                        <a:rPr lang="en-US" sz="1600" u="none" strike="noStrike">
                          <a:effectLst/>
                        </a:rPr>
                        <a:t>15 Kms to Ecospac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extLst>
                  <a:ext uri="{0D108BD9-81ED-4DB2-BD59-A6C34878D82A}">
                    <a16:rowId xmlns:a16="http://schemas.microsoft.com/office/drawing/2014/main" val="2216871999"/>
                  </a:ext>
                </a:extLst>
              </a:tr>
              <a:tr h="4012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effectLst/>
                          <a:hlinkClick r:id="rId3"/>
                        </a:rPr>
                        <a:t>Taj (West End</a:t>
                      </a:r>
                      <a:r>
                        <a:rPr lang="en-IN" sz="1600" b="1" u="none" strike="noStrike" dirty="0">
                          <a:effectLst/>
                        </a:rPr>
                        <a:t>)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effectLst/>
                        </a:rPr>
                        <a:t>2500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>
                          <a:effectLst/>
                        </a:rPr>
                        <a:t>3800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>
                          <a:effectLst/>
                        </a:rPr>
                        <a:t>4000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effectLst/>
                        </a:rPr>
                        <a:t>1 Km to PTT,</a:t>
                      </a:r>
                      <a:br>
                        <a:rPr lang="en-US" sz="1600" u="none" strike="noStrike">
                          <a:effectLst/>
                        </a:rPr>
                      </a:br>
                      <a:r>
                        <a:rPr lang="en-US" sz="1600" u="none" strike="noStrike">
                          <a:effectLst/>
                        </a:rPr>
                        <a:t>20 Kms to Ecospac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extLst>
                  <a:ext uri="{0D108BD9-81ED-4DB2-BD59-A6C34878D82A}">
                    <a16:rowId xmlns:a16="http://schemas.microsoft.com/office/drawing/2014/main" val="788128355"/>
                  </a:ext>
                </a:extLst>
              </a:tr>
              <a:tr h="4012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effectLst/>
                          <a:hlinkClick r:id="rId4"/>
                        </a:rPr>
                        <a:t>Marriott (Ritz Carlton</a:t>
                      </a:r>
                      <a:r>
                        <a:rPr lang="en-IN" sz="1600" b="1" u="none" strike="noStrike" dirty="0">
                          <a:effectLst/>
                        </a:rPr>
                        <a:t>)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effectLst/>
                        </a:rPr>
                        <a:t>3000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effectLst/>
                        </a:rPr>
                        <a:t>3200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u="none" strike="noStrike" dirty="0">
                          <a:effectLst/>
                        </a:rPr>
                        <a:t>4000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3.6 Kms to PTT,</a:t>
                      </a:r>
                      <a:br>
                        <a:rPr lang="en-US" sz="1600" u="none" strike="noStrike" dirty="0">
                          <a:effectLst/>
                        </a:rPr>
                      </a:br>
                      <a:r>
                        <a:rPr lang="en-US" sz="1600" u="none" strike="noStrike" dirty="0">
                          <a:effectLst/>
                        </a:rPr>
                        <a:t>15 Kms to </a:t>
                      </a:r>
                      <a:r>
                        <a:rPr lang="en-US" sz="1600" u="none" strike="noStrike" dirty="0" err="1">
                          <a:effectLst/>
                        </a:rPr>
                        <a:t>Ecospac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ctr"/>
                </a:tc>
                <a:extLst>
                  <a:ext uri="{0D108BD9-81ED-4DB2-BD59-A6C34878D82A}">
                    <a16:rowId xmlns:a16="http://schemas.microsoft.com/office/drawing/2014/main" val="4190982343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12B8F2CF-76EC-76AC-0A89-925F6E363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2F9F2D9-79C3-E1E0-3981-F7CE471E9729}"/>
              </a:ext>
            </a:extLst>
          </p:cNvPr>
          <p:cNvSpPr txBox="1">
            <a:spLocks/>
          </p:cNvSpPr>
          <p:nvPr/>
        </p:nvSpPr>
        <p:spPr>
          <a:xfrm>
            <a:off x="501650" y="317501"/>
            <a:ext cx="11188700" cy="109135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dirty="0"/>
              <a:t> Bangalore</a:t>
            </a:r>
          </a:p>
        </p:txBody>
      </p:sp>
    </p:spTree>
    <p:extLst>
      <p:ext uri="{BB962C8B-B14F-4D97-AF65-F5344CB8AC3E}">
        <p14:creationId xmlns:p14="http://schemas.microsoft.com/office/powerpoint/2010/main" val="216890275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7B4E6C0-090A-1B3B-1DE5-C629F3C576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9510855"/>
              </p:ext>
            </p:extLst>
          </p:nvPr>
        </p:nvGraphicFramePr>
        <p:xfrm>
          <a:off x="516465" y="1135417"/>
          <a:ext cx="11165419" cy="41460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1847">
                  <a:extLst>
                    <a:ext uri="{9D8B030D-6E8A-4147-A177-3AD203B41FA5}">
                      <a16:colId xmlns:a16="http://schemas.microsoft.com/office/drawing/2014/main" val="2717625240"/>
                    </a:ext>
                  </a:extLst>
                </a:gridCol>
                <a:gridCol w="1860535">
                  <a:extLst>
                    <a:ext uri="{9D8B030D-6E8A-4147-A177-3AD203B41FA5}">
                      <a16:colId xmlns:a16="http://schemas.microsoft.com/office/drawing/2014/main" val="3054126124"/>
                    </a:ext>
                  </a:extLst>
                </a:gridCol>
                <a:gridCol w="1895385">
                  <a:extLst>
                    <a:ext uri="{9D8B030D-6E8A-4147-A177-3AD203B41FA5}">
                      <a16:colId xmlns:a16="http://schemas.microsoft.com/office/drawing/2014/main" val="4100188734"/>
                    </a:ext>
                  </a:extLst>
                </a:gridCol>
                <a:gridCol w="1825685">
                  <a:extLst>
                    <a:ext uri="{9D8B030D-6E8A-4147-A177-3AD203B41FA5}">
                      <a16:colId xmlns:a16="http://schemas.microsoft.com/office/drawing/2014/main" val="956831000"/>
                    </a:ext>
                  </a:extLst>
                </a:gridCol>
                <a:gridCol w="1701967">
                  <a:extLst>
                    <a:ext uri="{9D8B030D-6E8A-4147-A177-3AD203B41FA5}">
                      <a16:colId xmlns:a16="http://schemas.microsoft.com/office/drawing/2014/main" val="2442912854"/>
                    </a:ext>
                  </a:extLst>
                </a:gridCol>
              </a:tblGrid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Food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enu Option 1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enu Option 2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enu Option 3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Remarks</a:t>
                      </a:r>
                      <a:endParaRPr lang="en-IN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4186494881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ocktails / Welcome Drink / </a:t>
                      </a:r>
                      <a:r>
                        <a:rPr lang="en-IN" sz="1600" u="none" strike="noStrike" dirty="0" err="1">
                          <a:effectLst/>
                        </a:rPr>
                        <a:t>Chaas</a:t>
                      </a:r>
                      <a:r>
                        <a:rPr lang="en-IN" sz="1600" u="none" strike="noStrike" dirty="0">
                          <a:effectLst/>
                        </a:rPr>
                        <a:t> / Lassi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2212292364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muse Bouch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0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1993372488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ppetizer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1 Veg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1 Veg and 1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2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1524109391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Papad, Raita, Pickle, Condiments and Chutney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3912774544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Curd Ric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3497364756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ain Cours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1 Veg and 1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2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3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47805617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Ric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0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548948912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Flavored Rice </a:t>
                      </a:r>
                    </a:p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(like Pulao / Biryani / Fried Rice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2669822180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Lenti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199993846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Desserts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3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2665498266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ukhvaas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3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4081300605"/>
                  </a:ext>
                </a:extLst>
              </a:tr>
              <a:tr h="4012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hlinkClick r:id="rId2"/>
                        </a:rPr>
                        <a:t>Taj (President) 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Kms to OIC,</a:t>
                      </a:r>
                      <a:b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Kms to DKC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16871999"/>
                  </a:ext>
                </a:extLst>
              </a:tr>
              <a:tr h="4012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ITC (Central</a:t>
                      </a:r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 Kms to OIC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8128355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12B8F2CF-76EC-76AC-0A89-925F6E363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2F9F2D9-79C3-E1E0-3981-F7CE471E9729}"/>
              </a:ext>
            </a:extLst>
          </p:cNvPr>
          <p:cNvSpPr txBox="1">
            <a:spLocks/>
          </p:cNvSpPr>
          <p:nvPr/>
        </p:nvSpPr>
        <p:spPr>
          <a:xfrm>
            <a:off x="501650" y="317501"/>
            <a:ext cx="11188700" cy="109135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dirty="0"/>
              <a:t> Mumbai</a:t>
            </a:r>
          </a:p>
        </p:txBody>
      </p:sp>
    </p:spTree>
    <p:extLst>
      <p:ext uri="{BB962C8B-B14F-4D97-AF65-F5344CB8AC3E}">
        <p14:creationId xmlns:p14="http://schemas.microsoft.com/office/powerpoint/2010/main" val="256507085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7B4E6C0-090A-1B3B-1DE5-C629F3C576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519724"/>
              </p:ext>
            </p:extLst>
          </p:nvPr>
        </p:nvGraphicFramePr>
        <p:xfrm>
          <a:off x="516465" y="1135417"/>
          <a:ext cx="11165419" cy="4732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1847">
                  <a:extLst>
                    <a:ext uri="{9D8B030D-6E8A-4147-A177-3AD203B41FA5}">
                      <a16:colId xmlns:a16="http://schemas.microsoft.com/office/drawing/2014/main" val="2717625240"/>
                    </a:ext>
                  </a:extLst>
                </a:gridCol>
                <a:gridCol w="1860535">
                  <a:extLst>
                    <a:ext uri="{9D8B030D-6E8A-4147-A177-3AD203B41FA5}">
                      <a16:colId xmlns:a16="http://schemas.microsoft.com/office/drawing/2014/main" val="3054126124"/>
                    </a:ext>
                  </a:extLst>
                </a:gridCol>
                <a:gridCol w="1895385">
                  <a:extLst>
                    <a:ext uri="{9D8B030D-6E8A-4147-A177-3AD203B41FA5}">
                      <a16:colId xmlns:a16="http://schemas.microsoft.com/office/drawing/2014/main" val="4100188734"/>
                    </a:ext>
                  </a:extLst>
                </a:gridCol>
                <a:gridCol w="1825685">
                  <a:extLst>
                    <a:ext uri="{9D8B030D-6E8A-4147-A177-3AD203B41FA5}">
                      <a16:colId xmlns:a16="http://schemas.microsoft.com/office/drawing/2014/main" val="956831000"/>
                    </a:ext>
                  </a:extLst>
                </a:gridCol>
                <a:gridCol w="1701967">
                  <a:extLst>
                    <a:ext uri="{9D8B030D-6E8A-4147-A177-3AD203B41FA5}">
                      <a16:colId xmlns:a16="http://schemas.microsoft.com/office/drawing/2014/main" val="2442912854"/>
                    </a:ext>
                  </a:extLst>
                </a:gridCol>
              </a:tblGrid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Food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enu Option 1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enu Option 2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enu Option 3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Remarks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4186494881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Mocktails / Welcome Drink / </a:t>
                      </a:r>
                      <a:r>
                        <a:rPr lang="en-IN" sz="1600" u="none" strike="noStrike" dirty="0" err="1">
                          <a:effectLst/>
                        </a:rPr>
                        <a:t>Chaas</a:t>
                      </a:r>
                      <a:r>
                        <a:rPr lang="en-IN" sz="1600" u="none" strike="noStrike" dirty="0">
                          <a:effectLst/>
                        </a:rPr>
                        <a:t> / Lassi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2212292364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muse Bouch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0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1993372488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ppetizer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 dirty="0">
                          <a:effectLst/>
                        </a:rPr>
                        <a:t>1 Veg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1 Veg and 1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2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1524109391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Papad, Raita, Pickle, Condiments and Chutney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Al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3912774544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Curd Ric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3497364756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ain Cours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1 Veg and 1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2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n-NO" sz="1600" u="none" strike="noStrike">
                          <a:effectLst/>
                        </a:rPr>
                        <a:t>3 Veg and 2 Non Veg</a:t>
                      </a:r>
                      <a:endParaRPr lang="nn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47805617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Rice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0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548948912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Flavored </a:t>
                      </a:r>
                      <a:r>
                        <a:rPr lang="en-US" sz="1600" u="none" strike="noStrike" dirty="0">
                          <a:effectLst/>
                        </a:rPr>
                        <a:t>Rice </a:t>
                      </a:r>
                    </a:p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(like Pulao / Biryani / Fried Rice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2669822180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Lentil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199993846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Desserts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3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2665498266"/>
                  </a:ext>
                </a:extLst>
              </a:tr>
              <a:tr h="22338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Mukhvaas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1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2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u="none" strike="noStrike">
                          <a:effectLst/>
                        </a:rPr>
                        <a:t>3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u="none" strike="noStrike">
                          <a:effectLst/>
                        </a:rPr>
                        <a:t> 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7" marR="6737" marT="6737" marB="0" anchor="b"/>
                </a:tc>
                <a:extLst>
                  <a:ext uri="{0D108BD9-81ED-4DB2-BD59-A6C34878D82A}">
                    <a16:rowId xmlns:a16="http://schemas.microsoft.com/office/drawing/2014/main" val="4081300605"/>
                  </a:ext>
                </a:extLst>
              </a:tr>
              <a:tr h="4012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hlinkClick r:id="rId2"/>
                        </a:rPr>
                        <a:t>ITC (Maurya</a:t>
                      </a:r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Kms to DLF,</a:t>
                      </a:r>
                      <a:b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Kms to AIPL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16871999"/>
                  </a:ext>
                </a:extLst>
              </a:tr>
              <a:tr h="4012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Marriott (Westin</a:t>
                      </a:r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 Kms to DLF,</a:t>
                      </a:r>
                      <a:b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Kms to AIPL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8128355"/>
                  </a:ext>
                </a:extLst>
              </a:tr>
              <a:tr h="40123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Taj (City Centre</a:t>
                      </a:r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Kms to DLF,</a:t>
                      </a:r>
                      <a:b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Kms to AIPL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0982343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12B8F2CF-76EC-76AC-0A89-925F6E363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2F9F2D9-79C3-E1E0-3981-F7CE471E9729}"/>
              </a:ext>
            </a:extLst>
          </p:cNvPr>
          <p:cNvSpPr txBox="1">
            <a:spLocks/>
          </p:cNvSpPr>
          <p:nvPr/>
        </p:nvSpPr>
        <p:spPr>
          <a:xfrm>
            <a:off x="501650" y="317501"/>
            <a:ext cx="11188700" cy="109135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dirty="0"/>
              <a:t> Gurgaon</a:t>
            </a:r>
          </a:p>
        </p:txBody>
      </p:sp>
    </p:spTree>
    <p:extLst>
      <p:ext uri="{BB962C8B-B14F-4D97-AF65-F5344CB8AC3E}">
        <p14:creationId xmlns:p14="http://schemas.microsoft.com/office/powerpoint/2010/main" val="175920045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E1FB1C41-9ADA-539D-A10B-B1795B4656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651600"/>
            <a:ext cx="11188700" cy="7572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1DD8213D-3712-83F4-3F42-3FF235D1684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31F4F0A8-D68A-04FE-4BDC-F6E39ED148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/>
          <a:p>
            <a:r>
              <a:rPr lang="en-US" sz="1100" dirty="0"/>
              <a:t>Transportation, Taxes are charge extra</a:t>
            </a:r>
          </a:p>
          <a:p>
            <a:r>
              <a:rPr lang="en-US" sz="1100" dirty="0"/>
              <a:t>*ITC’s portion is size is for two guest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2B8F2CF-76EC-76AC-0A89-925F6E363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444" y="966661"/>
            <a:ext cx="11188700" cy="334099"/>
          </a:xfrm>
        </p:spPr>
        <p:txBody>
          <a:bodyPr anchor="t">
            <a:normAutofit fontScale="90000"/>
          </a:bodyPr>
          <a:lstStyle/>
          <a:p>
            <a:pPr algn="ctr"/>
            <a:r>
              <a:rPr lang="en-US" sz="3600" dirty="0">
                <a:latin typeface="+mn-lt"/>
                <a:ea typeface="+mn-ea"/>
              </a:rPr>
              <a:t>Bento Boxes for Bangalor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372A635-0196-BB8B-D505-56C7FDDA8F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150805"/>
              </p:ext>
            </p:extLst>
          </p:nvPr>
        </p:nvGraphicFramePr>
        <p:xfrm>
          <a:off x="764859" y="2571650"/>
          <a:ext cx="10662285" cy="30297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6215">
                  <a:extLst>
                    <a:ext uri="{9D8B030D-6E8A-4147-A177-3AD203B41FA5}">
                      <a16:colId xmlns:a16="http://schemas.microsoft.com/office/drawing/2014/main" val="1312371906"/>
                    </a:ext>
                  </a:extLst>
                </a:gridCol>
                <a:gridCol w="2367915">
                  <a:extLst>
                    <a:ext uri="{9D8B030D-6E8A-4147-A177-3AD203B41FA5}">
                      <a16:colId xmlns:a16="http://schemas.microsoft.com/office/drawing/2014/main" val="1811997046"/>
                    </a:ext>
                  </a:extLst>
                </a:gridCol>
                <a:gridCol w="2367915">
                  <a:extLst>
                    <a:ext uri="{9D8B030D-6E8A-4147-A177-3AD203B41FA5}">
                      <a16:colId xmlns:a16="http://schemas.microsoft.com/office/drawing/2014/main" val="1358931825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1853957164"/>
                    </a:ext>
                  </a:extLst>
                </a:gridCol>
              </a:tblGrid>
              <a:tr h="113461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Hotels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Vegetarian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Non Vegetarian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Menu Option</a:t>
                      </a:r>
                      <a:endParaRPr lang="en-IN" sz="3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234691776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  <a:hlinkClick r:id="rId2"/>
                        </a:rPr>
                        <a:t>ITC (Gardenia</a:t>
                      </a:r>
                      <a:r>
                        <a:rPr lang="en-IN" sz="3300" u="none" strike="noStrike" dirty="0">
                          <a:effectLst/>
                        </a:rPr>
                        <a:t>)*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2750</a:t>
                      </a:r>
                      <a:endParaRPr lang="en-IN" sz="3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3250</a:t>
                      </a:r>
                      <a:endParaRPr lang="en-IN" sz="3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Option 2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318491365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  <a:hlinkClick r:id="rId3"/>
                        </a:rPr>
                        <a:t>Marriott (Ritz Carlton</a:t>
                      </a:r>
                      <a:r>
                        <a:rPr lang="en-IN" sz="3300" u="none" strike="noStrike" dirty="0">
                          <a:effectLst/>
                        </a:rPr>
                        <a:t>)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2000</a:t>
                      </a:r>
                      <a:endParaRPr lang="en-IN" sz="3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2200</a:t>
                      </a:r>
                      <a:endParaRPr lang="en-IN" sz="3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>
                          <a:effectLst/>
                        </a:rPr>
                        <a:t>Option 1</a:t>
                      </a:r>
                      <a:endParaRPr lang="en-IN" sz="3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2236105585"/>
                  </a:ext>
                </a:extLst>
              </a:tr>
              <a:tr h="631698"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  <a:hlinkClick r:id="rId4"/>
                        </a:rPr>
                        <a:t>Taj (Qmin</a:t>
                      </a:r>
                      <a:r>
                        <a:rPr lang="en-IN" sz="3300" u="none" strike="noStrike" dirty="0">
                          <a:effectLst/>
                        </a:rPr>
                        <a:t>)</a:t>
                      </a:r>
                      <a:endParaRPr lang="en-IN" sz="3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13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1400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3300" u="none" strike="noStrike" dirty="0">
                          <a:effectLst/>
                        </a:rPr>
                        <a:t>Option 1</a:t>
                      </a:r>
                      <a:endParaRPr lang="en-IN" sz="3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050" marR="19050" marT="19050" marB="0" anchor="b"/>
                </a:tc>
                <a:extLst>
                  <a:ext uri="{0D108BD9-81ED-4DB2-BD59-A6C34878D82A}">
                    <a16:rowId xmlns:a16="http://schemas.microsoft.com/office/drawing/2014/main" val="3508323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797213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C0B5E8C28FBB4DB6BB6E6547CA8A70" ma:contentTypeVersion="13" ma:contentTypeDescription="Create a new document." ma:contentTypeScope="" ma:versionID="0a46a10188038176b4a387d52ea71e7a">
  <xsd:schema xmlns:xsd="http://www.w3.org/2001/XMLSchema" xmlns:xs="http://www.w3.org/2001/XMLSchema" xmlns:p="http://schemas.microsoft.com/office/2006/metadata/properties" xmlns:ns3="8f1e2369-70da-40d7-b978-99d0855b91b8" xmlns:ns4="8ee28f6f-733e-446a-845c-015b8614e1f7" targetNamespace="http://schemas.microsoft.com/office/2006/metadata/properties" ma:root="true" ma:fieldsID="79067f50d15324d46a422f953b0a6563" ns3:_="" ns4:_="">
    <xsd:import namespace="8f1e2369-70da-40d7-b978-99d0855b91b8"/>
    <xsd:import namespace="8ee28f6f-733e-446a-845c-015b8614e1f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1e2369-70da-40d7-b978-99d0855b91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e28f6f-733e-446a-845c-015b8614e1f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BF5FBC8-9FF1-4377-BFED-A78611F885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1e2369-70da-40d7-b978-99d0855b91b8"/>
    <ds:schemaRef ds:uri="8ee28f6f-733e-446a-845c-015b8614e1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A05E49B-70B5-4FEC-89D5-F69F52BE5B81}">
  <ds:schemaRefs>
    <ds:schemaRef ds:uri="http://purl.org/dc/dcmitype/"/>
    <ds:schemaRef ds:uri="http://purl.org/dc/terms/"/>
    <ds:schemaRef ds:uri="http://schemas.microsoft.com/office/2006/metadata/properties"/>
    <ds:schemaRef ds:uri="http://www.w3.org/XML/1998/namespace"/>
    <ds:schemaRef ds:uri="8ee28f6f-733e-446a-845c-015b8614e1f7"/>
    <ds:schemaRef ds:uri="http://purl.org/dc/elements/1.1/"/>
    <ds:schemaRef ds:uri="8f1e2369-70da-40d7-b978-99d0855b91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10122</TotalTime>
  <Words>876</Words>
  <Application>Microsoft Office PowerPoint</Application>
  <PresentationFormat>Widescreen</PresentationFormat>
  <Paragraphs>357</Paragraphs>
  <Slides>12</Slides>
  <Notes>2</Notes>
  <HiddenSlides>3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Menu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ento Boxes for Bangalore</vt:lpstr>
      <vt:lpstr>Bento Boxes for Mumbai</vt:lpstr>
      <vt:lpstr>Bento Boxes for Gurga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 heading in Calibri  Light Green that can be up to  three lines of text</dc:title>
  <dc:creator>Schulfer, Gretchen</dc:creator>
  <cp:lastModifiedBy>Shah, Darshan</cp:lastModifiedBy>
  <cp:revision>162</cp:revision>
  <cp:lastPrinted>2024-07-09T04:09:57Z</cp:lastPrinted>
  <dcterms:created xsi:type="dcterms:W3CDTF">2020-03-02T22:28:28Z</dcterms:created>
  <dcterms:modified xsi:type="dcterms:W3CDTF">2024-07-23T12:5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C0B5E8C28FBB4DB6BB6E6547CA8A70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1-20T07:30:0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f58ff394-a041-4549-91c5-a7759e9e5813</vt:lpwstr>
  </property>
  <property fmtid="{D5CDD505-2E9C-101B-9397-08002B2CF9AE}" pid="9" name="MSIP_Label_ea60d57e-af5b-4752-ac57-3e4f28ca11dc_ContentBits">
    <vt:lpwstr>0</vt:lpwstr>
  </property>
</Properties>
</file>